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  <p:sldMasterId id="2147483660" r:id="rId5"/>
    <p:sldMasterId id="2147483675" r:id="rId6"/>
    <p:sldMasterId id="2147483690" r:id="rId7"/>
  </p:sldMasterIdLst>
  <p:notesMasterIdLst>
    <p:notesMasterId r:id="rId17"/>
  </p:notesMasterIdLst>
  <p:sldIdLst>
    <p:sldId id="260" r:id="rId8"/>
    <p:sldId id="338" r:id="rId9"/>
    <p:sldId id="2145705597" r:id="rId10"/>
    <p:sldId id="2145705603" r:id="rId11"/>
    <p:sldId id="2145705605" r:id="rId12"/>
    <p:sldId id="2145705607" r:id="rId13"/>
    <p:sldId id="2145705609" r:id="rId14"/>
    <p:sldId id="2145705611" r:id="rId15"/>
    <p:sldId id="303" r:id="rId16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alibri Light" panose="020F0302020204030204" pitchFamily="34" charset="0"/>
      <p:regular r:id="rId22"/>
      <p:italic r:id="rId23"/>
    </p:embeddedFont>
    <p:embeddedFont>
      <p:font typeface="Roboto" panose="020B0604020202020204" charset="0"/>
      <p:regular r:id="rId24"/>
      <p:bold r:id="rId25"/>
      <p:italic r:id="rId26"/>
      <p:boldItalic r:id="rId27"/>
    </p:embeddedFont>
    <p:embeddedFont>
      <p:font typeface="Segoe UI" panose="020B0502040204020203" pitchFamily="3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i-Lan Ha" initials="MH" lastIdx="8" clrIdx="0"/>
  <p:cmAuthor id="1" name="Peter Schulte" initials="PS" lastIdx="1" clrIdx="1">
    <p:extLst>
      <p:ext uri="{19B8F6BF-5375-455C-9EA6-DF929625EA0E}">
        <p15:presenceInfo xmlns:p15="http://schemas.microsoft.com/office/powerpoint/2012/main" userId="Peter Schulte" providerId="None"/>
      </p:ext>
    </p:extLst>
  </p:cmAuthor>
  <p:cmAuthor id="2" name="Tien Shiao" initials="TS" lastIdx="17" clrIdx="2">
    <p:extLst>
      <p:ext uri="{19B8F6BF-5375-455C-9EA6-DF929625EA0E}">
        <p15:presenceInfo xmlns:p15="http://schemas.microsoft.com/office/powerpoint/2012/main" userId="Tien Shia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E3B"/>
    <a:srgbClr val="00AF66"/>
    <a:srgbClr val="699CC6"/>
    <a:srgbClr val="1E3250"/>
    <a:srgbClr val="297D6D"/>
    <a:srgbClr val="699BC6"/>
    <a:srgbClr val="287D6C"/>
    <a:srgbClr val="BAD1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784" autoAdjust="0"/>
  </p:normalViewPr>
  <p:slideViewPr>
    <p:cSldViewPr snapToGrid="0">
      <p:cViewPr varScale="1">
        <p:scale>
          <a:sx n="93" d="100"/>
          <a:sy n="93" d="100"/>
        </p:scale>
        <p:origin x="1162" y="67"/>
      </p:cViewPr>
      <p:guideLst>
        <p:guide orient="horz" pos="2160"/>
        <p:guide pos="3840"/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21" Type="http://schemas.openxmlformats.org/officeDocument/2006/relationships/font" Target="fonts/font4.fntdata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font" Target="fonts/font7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é Villaça Ramalho" userId="01cdce5c-ae15-4547-bba5-c21271cf95b4" providerId="ADAL" clId="{C761DB7C-287B-4877-A4F1-1B1B188F246F}"/>
    <pc:docChg chg="delSld modSld sldOrd delMainMaster">
      <pc:chgData name="André Villaça Ramalho" userId="01cdce5c-ae15-4547-bba5-c21271cf95b4" providerId="ADAL" clId="{C761DB7C-287B-4877-A4F1-1B1B188F246F}" dt="2020-11-09T22:49:05.244" v="18" actId="20577"/>
      <pc:docMkLst>
        <pc:docMk/>
      </pc:docMkLst>
      <pc:sldChg chg="modSp mod">
        <pc:chgData name="André Villaça Ramalho" userId="01cdce5c-ae15-4547-bba5-c21271cf95b4" providerId="ADAL" clId="{C761DB7C-287B-4877-A4F1-1B1B188F246F}" dt="2020-11-09T22:49:05.244" v="18" actId="20577"/>
        <pc:sldMkLst>
          <pc:docMk/>
          <pc:sldMk cId="1486083549" sldId="260"/>
        </pc:sldMkLst>
        <pc:spChg chg="mod">
          <ac:chgData name="André Villaça Ramalho" userId="01cdce5c-ae15-4547-bba5-c21271cf95b4" providerId="ADAL" clId="{C761DB7C-287B-4877-A4F1-1B1B188F246F}" dt="2020-11-09T22:49:05.244" v="18" actId="20577"/>
          <ac:spMkLst>
            <pc:docMk/>
            <pc:sldMk cId="1486083549" sldId="260"/>
            <ac:spMk id="12" creationId="{6C59171E-2A7C-417F-96E7-0D2361AD077F}"/>
          </ac:spMkLst>
        </pc:spChg>
      </pc:sldChg>
      <pc:sldChg chg="del">
        <pc:chgData name="André Villaça Ramalho" userId="01cdce5c-ae15-4547-bba5-c21271cf95b4" providerId="ADAL" clId="{C761DB7C-287B-4877-A4F1-1B1B188F246F}" dt="2020-11-09T22:48:38.655" v="12" actId="47"/>
        <pc:sldMkLst>
          <pc:docMk/>
          <pc:sldMk cId="866476491" sldId="306"/>
        </pc:sldMkLst>
      </pc:sldChg>
      <pc:sldChg chg="del">
        <pc:chgData name="André Villaça Ramalho" userId="01cdce5c-ae15-4547-bba5-c21271cf95b4" providerId="ADAL" clId="{C761DB7C-287B-4877-A4F1-1B1B188F246F}" dt="2020-11-09T22:47:58.289" v="0" actId="47"/>
        <pc:sldMkLst>
          <pc:docMk/>
          <pc:sldMk cId="3153733794" sldId="314"/>
        </pc:sldMkLst>
      </pc:sldChg>
      <pc:sldChg chg="del">
        <pc:chgData name="André Villaça Ramalho" userId="01cdce5c-ae15-4547-bba5-c21271cf95b4" providerId="ADAL" clId="{C761DB7C-287B-4877-A4F1-1B1B188F246F}" dt="2020-11-09T22:47:58.289" v="0" actId="47"/>
        <pc:sldMkLst>
          <pc:docMk/>
          <pc:sldMk cId="2652740884" sldId="329"/>
        </pc:sldMkLst>
      </pc:sldChg>
      <pc:sldChg chg="ord">
        <pc:chgData name="André Villaça Ramalho" userId="01cdce5c-ae15-4547-bba5-c21271cf95b4" providerId="ADAL" clId="{C761DB7C-287B-4877-A4F1-1B1B188F246F}" dt="2020-11-09T22:48:32.349" v="11"/>
        <pc:sldMkLst>
          <pc:docMk/>
          <pc:sldMk cId="2854831601" sldId="338"/>
        </pc:sldMkLst>
      </pc:sldChg>
      <pc:sldChg chg="del">
        <pc:chgData name="André Villaça Ramalho" userId="01cdce5c-ae15-4547-bba5-c21271cf95b4" providerId="ADAL" clId="{C761DB7C-287B-4877-A4F1-1B1B188F246F}" dt="2020-11-09T22:47:58.289" v="0" actId="47"/>
        <pc:sldMkLst>
          <pc:docMk/>
          <pc:sldMk cId="2191478780" sldId="341"/>
        </pc:sldMkLst>
      </pc:sldChg>
      <pc:sldChg chg="del">
        <pc:chgData name="André Villaça Ramalho" userId="01cdce5c-ae15-4547-bba5-c21271cf95b4" providerId="ADAL" clId="{C761DB7C-287B-4877-A4F1-1B1B188F246F}" dt="2020-11-09T22:48:38.655" v="12" actId="47"/>
        <pc:sldMkLst>
          <pc:docMk/>
          <pc:sldMk cId="2875300995" sldId="354"/>
        </pc:sldMkLst>
      </pc:sldChg>
      <pc:sldChg chg="del">
        <pc:chgData name="André Villaça Ramalho" userId="01cdce5c-ae15-4547-bba5-c21271cf95b4" providerId="ADAL" clId="{C761DB7C-287B-4877-A4F1-1B1B188F246F}" dt="2020-11-09T22:47:58.289" v="0" actId="47"/>
        <pc:sldMkLst>
          <pc:docMk/>
          <pc:sldMk cId="708087391" sldId="2145705593"/>
        </pc:sldMkLst>
      </pc:sldChg>
      <pc:sldChg chg="ord">
        <pc:chgData name="André Villaça Ramalho" userId="01cdce5c-ae15-4547-bba5-c21271cf95b4" providerId="ADAL" clId="{C761DB7C-287B-4877-A4F1-1B1B188F246F}" dt="2020-11-09T22:48:18.416" v="7"/>
        <pc:sldMkLst>
          <pc:docMk/>
          <pc:sldMk cId="864232090" sldId="2145705597"/>
        </pc:sldMkLst>
      </pc:sldChg>
      <pc:sldChg chg="del">
        <pc:chgData name="André Villaça Ramalho" userId="01cdce5c-ae15-4547-bba5-c21271cf95b4" providerId="ADAL" clId="{C761DB7C-287B-4877-A4F1-1B1B188F246F}" dt="2020-11-09T22:48:04.576" v="1" actId="47"/>
        <pc:sldMkLst>
          <pc:docMk/>
          <pc:sldMk cId="784870382" sldId="2145705601"/>
        </pc:sldMkLst>
      </pc:sldChg>
      <pc:sldChg chg="del">
        <pc:chgData name="André Villaça Ramalho" userId="01cdce5c-ae15-4547-bba5-c21271cf95b4" providerId="ADAL" clId="{C761DB7C-287B-4877-A4F1-1B1B188F246F}" dt="2020-11-09T22:47:58.289" v="0" actId="47"/>
        <pc:sldMkLst>
          <pc:docMk/>
          <pc:sldMk cId="348133999" sldId="2145705602"/>
        </pc:sldMkLst>
      </pc:sldChg>
      <pc:sldChg chg="del">
        <pc:chgData name="André Villaça Ramalho" userId="01cdce5c-ae15-4547-bba5-c21271cf95b4" providerId="ADAL" clId="{C761DB7C-287B-4877-A4F1-1B1B188F246F}" dt="2020-11-09T22:48:08.160" v="2" actId="47"/>
        <pc:sldMkLst>
          <pc:docMk/>
          <pc:sldMk cId="2587758071" sldId="2145705604"/>
        </pc:sldMkLst>
      </pc:sldChg>
      <pc:sldChg chg="del">
        <pc:chgData name="André Villaça Ramalho" userId="01cdce5c-ae15-4547-bba5-c21271cf95b4" providerId="ADAL" clId="{C761DB7C-287B-4877-A4F1-1B1B188F246F}" dt="2020-11-09T22:48:09.862" v="3" actId="47"/>
        <pc:sldMkLst>
          <pc:docMk/>
          <pc:sldMk cId="722928251" sldId="2145705606"/>
        </pc:sldMkLst>
      </pc:sldChg>
      <pc:sldChg chg="del">
        <pc:chgData name="André Villaça Ramalho" userId="01cdce5c-ae15-4547-bba5-c21271cf95b4" providerId="ADAL" clId="{C761DB7C-287B-4877-A4F1-1B1B188F246F}" dt="2020-11-09T22:48:11.602" v="4" actId="47"/>
        <pc:sldMkLst>
          <pc:docMk/>
          <pc:sldMk cId="3762073694" sldId="2145705608"/>
        </pc:sldMkLst>
      </pc:sldChg>
      <pc:sldChg chg="del">
        <pc:chgData name="André Villaça Ramalho" userId="01cdce5c-ae15-4547-bba5-c21271cf95b4" providerId="ADAL" clId="{C761DB7C-287B-4877-A4F1-1B1B188F246F}" dt="2020-11-09T22:48:12.925" v="5" actId="47"/>
        <pc:sldMkLst>
          <pc:docMk/>
          <pc:sldMk cId="1992707157" sldId="2145705610"/>
        </pc:sldMkLst>
      </pc:sldChg>
      <pc:sldChg chg="del">
        <pc:chgData name="André Villaça Ramalho" userId="01cdce5c-ae15-4547-bba5-c21271cf95b4" providerId="ADAL" clId="{C761DB7C-287B-4877-A4F1-1B1B188F246F}" dt="2020-11-09T22:48:38.655" v="12" actId="47"/>
        <pc:sldMkLst>
          <pc:docMk/>
          <pc:sldMk cId="285826607" sldId="2145705612"/>
        </pc:sldMkLst>
      </pc:sldChg>
      <pc:sldChg chg="del">
        <pc:chgData name="André Villaça Ramalho" userId="01cdce5c-ae15-4547-bba5-c21271cf95b4" providerId="ADAL" clId="{C761DB7C-287B-4877-A4F1-1B1B188F246F}" dt="2020-11-09T22:47:58.289" v="0" actId="47"/>
        <pc:sldMkLst>
          <pc:docMk/>
          <pc:sldMk cId="1360581124" sldId="2145705613"/>
        </pc:sldMkLst>
      </pc:sldChg>
      <pc:sldMasterChg chg="del delSldLayout">
        <pc:chgData name="André Villaça Ramalho" userId="01cdce5c-ae15-4547-bba5-c21271cf95b4" providerId="ADAL" clId="{C761DB7C-287B-4877-A4F1-1B1B188F246F}" dt="2020-11-09T22:47:58.289" v="0" actId="47"/>
        <pc:sldMasterMkLst>
          <pc:docMk/>
          <pc:sldMasterMk cId="3120556767" sldId="2147483705"/>
        </pc:sldMasterMkLst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2871991356" sldId="2147483706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3039647754" sldId="2147483707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1460579346" sldId="2147483708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2014098738" sldId="2147483709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458406544" sldId="2147483710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2605550022" sldId="2147483711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2503673284" sldId="2147483712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1826585598" sldId="2147483713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2976274355" sldId="2147483714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1654104847" sldId="2147483715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1472519703" sldId="2147483716"/>
          </pc:sldLayoutMkLst>
        </pc:sldLayoutChg>
        <pc:sldLayoutChg chg="del">
          <pc:chgData name="André Villaça Ramalho" userId="01cdce5c-ae15-4547-bba5-c21271cf95b4" providerId="ADAL" clId="{C761DB7C-287B-4877-A4F1-1B1B188F246F}" dt="2020-11-09T22:47:58.289" v="0" actId="47"/>
          <pc:sldLayoutMkLst>
            <pc:docMk/>
            <pc:sldMasterMk cId="3120556767" sldId="2147483705"/>
            <pc:sldLayoutMk cId="435557357" sldId="2147483717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87E7CF-152A-4D4E-BC72-A5C22C1585F9}" type="doc">
      <dgm:prSet loTypeId="urn:microsoft.com/office/officeart/2005/8/layout/vList5" loCatId="list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A29B77EF-4812-4876-ACF5-5381DD296F69}">
      <dgm:prSet phldrT="[Texto]" custT="1"/>
      <dgm:spPr/>
      <dgm:t>
        <a:bodyPr/>
        <a:lstStyle/>
        <a:p>
          <a:r>
            <a:rPr lang="en-US" sz="3000" dirty="0"/>
            <a:t>Brazil</a:t>
          </a:r>
        </a:p>
      </dgm:t>
    </dgm:pt>
    <dgm:pt modelId="{EB9A13AB-2E58-45D9-A094-DB7B4C15C216}" type="parTrans" cxnId="{BDC86891-1AFD-49E8-880E-2CD2F32899C7}">
      <dgm:prSet/>
      <dgm:spPr/>
      <dgm:t>
        <a:bodyPr/>
        <a:lstStyle/>
        <a:p>
          <a:endParaRPr lang="en-US"/>
        </a:p>
      </dgm:t>
    </dgm:pt>
    <dgm:pt modelId="{C7429F52-C0AD-4514-A2D0-0A7C934405C0}" type="sibTrans" cxnId="{BDC86891-1AFD-49E8-880E-2CD2F32899C7}">
      <dgm:prSet/>
      <dgm:spPr/>
      <dgm:t>
        <a:bodyPr/>
        <a:lstStyle/>
        <a:p>
          <a:endParaRPr lang="en-US"/>
        </a:p>
      </dgm:t>
    </dgm:pt>
    <dgm:pt modelId="{27062CAF-C13F-4468-81C2-37FE1AF42B93}">
      <dgm:prSet phldrT="[Texto]" custT="1"/>
      <dgm:spPr/>
      <dgm:t>
        <a:bodyPr/>
        <a:lstStyle/>
        <a:p>
          <a:r>
            <a:rPr lang="en-US" sz="1200" dirty="0"/>
            <a:t>PCJ (São Paulo)</a:t>
          </a:r>
        </a:p>
      </dgm:t>
    </dgm:pt>
    <dgm:pt modelId="{D78F6E2C-D8B9-4DDD-A307-D560F0290DF7}" type="parTrans" cxnId="{6EE7ADEA-C046-489C-971E-442545713E5B}">
      <dgm:prSet/>
      <dgm:spPr/>
      <dgm:t>
        <a:bodyPr/>
        <a:lstStyle/>
        <a:p>
          <a:endParaRPr lang="en-US"/>
        </a:p>
      </dgm:t>
    </dgm:pt>
    <dgm:pt modelId="{387763F8-95D3-431C-9DF8-6C2090CD17A9}" type="sibTrans" cxnId="{6EE7ADEA-C046-489C-971E-442545713E5B}">
      <dgm:prSet/>
      <dgm:spPr/>
      <dgm:t>
        <a:bodyPr/>
        <a:lstStyle/>
        <a:p>
          <a:endParaRPr lang="en-US"/>
        </a:p>
      </dgm:t>
    </dgm:pt>
    <dgm:pt modelId="{0B2D8259-DE48-48D0-8CD4-151C0E62E2EF}">
      <dgm:prSet phldrT="[Texto]" custT="1"/>
      <dgm:spPr/>
      <dgm:t>
        <a:bodyPr/>
        <a:lstStyle/>
        <a:p>
          <a:r>
            <a:rPr lang="en-US" sz="3000" dirty="0"/>
            <a:t>USA</a:t>
          </a:r>
        </a:p>
      </dgm:t>
    </dgm:pt>
    <dgm:pt modelId="{6A47F83C-9DD6-4975-836E-BB191E4C0619}" type="parTrans" cxnId="{9D9477F4-0B20-48DF-80A4-18774CDD781D}">
      <dgm:prSet/>
      <dgm:spPr/>
      <dgm:t>
        <a:bodyPr/>
        <a:lstStyle/>
        <a:p>
          <a:endParaRPr lang="en-US"/>
        </a:p>
      </dgm:t>
    </dgm:pt>
    <dgm:pt modelId="{182065C0-354B-4380-9688-C4171C7F8C90}" type="sibTrans" cxnId="{9D9477F4-0B20-48DF-80A4-18774CDD781D}">
      <dgm:prSet/>
      <dgm:spPr/>
      <dgm:t>
        <a:bodyPr/>
        <a:lstStyle/>
        <a:p>
          <a:endParaRPr lang="en-US"/>
        </a:p>
      </dgm:t>
    </dgm:pt>
    <dgm:pt modelId="{3EDCB972-C5F3-40BE-8D55-95B714C0496C}">
      <dgm:prSet phldrT="[Texto]" custT="1"/>
      <dgm:spPr/>
      <dgm:t>
        <a:bodyPr/>
        <a:lstStyle/>
        <a:p>
          <a:r>
            <a:rPr lang="en-US" sz="1200" dirty="0"/>
            <a:t>California - San Francisco</a:t>
          </a:r>
          <a:endParaRPr lang="en-US" sz="1400" dirty="0"/>
        </a:p>
      </dgm:t>
    </dgm:pt>
    <dgm:pt modelId="{D25446BA-FBBA-46D9-BF80-183EDE3D7897}" type="parTrans" cxnId="{BA421515-8974-4B1B-9A74-DD7124C42816}">
      <dgm:prSet/>
      <dgm:spPr/>
      <dgm:t>
        <a:bodyPr/>
        <a:lstStyle/>
        <a:p>
          <a:endParaRPr lang="en-US"/>
        </a:p>
      </dgm:t>
    </dgm:pt>
    <dgm:pt modelId="{FD3836B5-81F8-4B3F-9B9F-247F07275C71}" type="sibTrans" cxnId="{BA421515-8974-4B1B-9A74-DD7124C42816}">
      <dgm:prSet/>
      <dgm:spPr/>
      <dgm:t>
        <a:bodyPr/>
        <a:lstStyle/>
        <a:p>
          <a:endParaRPr lang="en-US"/>
        </a:p>
      </dgm:t>
    </dgm:pt>
    <dgm:pt modelId="{87C703E7-680A-4BCA-9EAC-3B4BC0955A09}">
      <dgm:prSet phldrT="[Texto]" custT="1"/>
      <dgm:spPr/>
      <dgm:t>
        <a:bodyPr/>
        <a:lstStyle/>
        <a:p>
          <a:r>
            <a:rPr lang="en-US" sz="3000" dirty="0"/>
            <a:t>South Africa</a:t>
          </a:r>
        </a:p>
      </dgm:t>
    </dgm:pt>
    <dgm:pt modelId="{6613C5B4-B490-4CA3-B71F-0156D1101E1A}" type="parTrans" cxnId="{7310740D-6692-4068-86A0-940F7ED2EB99}">
      <dgm:prSet/>
      <dgm:spPr/>
      <dgm:t>
        <a:bodyPr/>
        <a:lstStyle/>
        <a:p>
          <a:endParaRPr lang="en-US"/>
        </a:p>
      </dgm:t>
    </dgm:pt>
    <dgm:pt modelId="{4FE8157F-7991-4EC6-9E32-71FAEED93AF2}" type="sibTrans" cxnId="{7310740D-6692-4068-86A0-940F7ED2EB99}">
      <dgm:prSet/>
      <dgm:spPr/>
      <dgm:t>
        <a:bodyPr/>
        <a:lstStyle/>
        <a:p>
          <a:endParaRPr lang="en-US"/>
        </a:p>
      </dgm:t>
    </dgm:pt>
    <dgm:pt modelId="{5D305BE7-B70B-4740-BC0F-56BDF99E8521}">
      <dgm:prSet phldrT="[Texto]" custT="1"/>
      <dgm:spPr/>
      <dgm:t>
        <a:bodyPr/>
        <a:lstStyle/>
        <a:p>
          <a:r>
            <a:rPr lang="en-US" sz="3000" dirty="0"/>
            <a:t>Mexico</a:t>
          </a:r>
        </a:p>
      </dgm:t>
    </dgm:pt>
    <dgm:pt modelId="{3E0BAF7C-8AC5-4793-A9E4-6D4B365E429F}" type="parTrans" cxnId="{D08E96AE-3CE1-403E-8F0E-4B2D79A6E7AB}">
      <dgm:prSet/>
      <dgm:spPr/>
      <dgm:t>
        <a:bodyPr/>
        <a:lstStyle/>
        <a:p>
          <a:endParaRPr lang="en-US"/>
        </a:p>
      </dgm:t>
    </dgm:pt>
    <dgm:pt modelId="{BF4A9BF4-2B03-4293-889D-F8236B8491D0}" type="sibTrans" cxnId="{D08E96AE-3CE1-403E-8F0E-4B2D79A6E7AB}">
      <dgm:prSet/>
      <dgm:spPr/>
      <dgm:t>
        <a:bodyPr/>
        <a:lstStyle/>
        <a:p>
          <a:endParaRPr lang="en-US"/>
        </a:p>
      </dgm:t>
    </dgm:pt>
    <dgm:pt modelId="{90C9C7DC-5729-4FF6-9FDC-334C1465B3FE}">
      <dgm:prSet phldrT="[Texto]" custT="1"/>
      <dgm:spPr/>
      <dgm:t>
        <a:bodyPr/>
        <a:lstStyle/>
        <a:p>
          <a:r>
            <a:rPr lang="en-US" sz="3000" dirty="0"/>
            <a:t>India</a:t>
          </a:r>
        </a:p>
      </dgm:t>
    </dgm:pt>
    <dgm:pt modelId="{5B8FADC4-044B-4717-B77A-97D0589097D7}" type="parTrans" cxnId="{8852E238-EFD0-4EF1-B921-BA1CA1C610BF}">
      <dgm:prSet/>
      <dgm:spPr/>
      <dgm:t>
        <a:bodyPr/>
        <a:lstStyle/>
        <a:p>
          <a:endParaRPr lang="en-US"/>
        </a:p>
      </dgm:t>
    </dgm:pt>
    <dgm:pt modelId="{9F76EDC6-5FED-4689-9807-669F77257466}" type="sibTrans" cxnId="{8852E238-EFD0-4EF1-B921-BA1CA1C610BF}">
      <dgm:prSet/>
      <dgm:spPr/>
      <dgm:t>
        <a:bodyPr/>
        <a:lstStyle/>
        <a:p>
          <a:endParaRPr lang="en-US"/>
        </a:p>
      </dgm:t>
    </dgm:pt>
    <dgm:pt modelId="{97B6BD94-826C-4CA6-B906-8451008582C0}">
      <dgm:prSet phldrT="[Texto]" custT="1"/>
      <dgm:spPr/>
      <dgm:t>
        <a:bodyPr/>
        <a:lstStyle/>
        <a:p>
          <a:r>
            <a:rPr lang="en-US" sz="1200" dirty="0"/>
            <a:t>Integrated Vaal River System (Gauteng)</a:t>
          </a:r>
        </a:p>
      </dgm:t>
    </dgm:pt>
    <dgm:pt modelId="{37F59AFA-7FE9-44D1-B624-30D76A7CFA75}" type="parTrans" cxnId="{3A9B467C-6738-4DB0-9489-F6C5E848A53A}">
      <dgm:prSet/>
      <dgm:spPr/>
      <dgm:t>
        <a:bodyPr/>
        <a:lstStyle/>
        <a:p>
          <a:endParaRPr lang="en-US"/>
        </a:p>
      </dgm:t>
    </dgm:pt>
    <dgm:pt modelId="{EE68E82D-A81F-48AE-B55E-0B02611D75A1}" type="sibTrans" cxnId="{3A9B467C-6738-4DB0-9489-F6C5E848A53A}">
      <dgm:prSet/>
      <dgm:spPr/>
      <dgm:t>
        <a:bodyPr/>
        <a:lstStyle/>
        <a:p>
          <a:endParaRPr lang="en-US"/>
        </a:p>
      </dgm:t>
    </dgm:pt>
    <dgm:pt modelId="{0050ABA8-A185-4C19-BEB8-B06E4D2B5A56}">
      <dgm:prSet phldrT="[Texto]" custT="1"/>
      <dgm:spPr/>
      <dgm:t>
        <a:bodyPr/>
        <a:lstStyle/>
        <a:p>
          <a:r>
            <a:rPr lang="en-US" sz="1200" dirty="0"/>
            <a:t>Santiago Guadalajara (Queretaro) </a:t>
          </a:r>
        </a:p>
      </dgm:t>
    </dgm:pt>
    <dgm:pt modelId="{69DAA001-DB4A-4693-97CA-8E1E264F7712}" type="parTrans" cxnId="{1FF83624-9A4C-4697-9D72-97E0B27850FD}">
      <dgm:prSet/>
      <dgm:spPr/>
      <dgm:t>
        <a:bodyPr/>
        <a:lstStyle/>
        <a:p>
          <a:endParaRPr lang="en-US"/>
        </a:p>
      </dgm:t>
    </dgm:pt>
    <dgm:pt modelId="{167C9F5B-37E7-4E8C-90DE-6D13BEA8C3D2}" type="sibTrans" cxnId="{1FF83624-9A4C-4697-9D72-97E0B27850FD}">
      <dgm:prSet/>
      <dgm:spPr/>
      <dgm:t>
        <a:bodyPr/>
        <a:lstStyle/>
        <a:p>
          <a:endParaRPr lang="en-US"/>
        </a:p>
      </dgm:t>
    </dgm:pt>
    <dgm:pt modelId="{19C57288-AA5B-444F-B4D8-8B13972407DA}">
      <dgm:prSet phldrT="[Texto]" custT="1"/>
      <dgm:spPr/>
      <dgm:t>
        <a:bodyPr/>
        <a:lstStyle/>
        <a:p>
          <a:r>
            <a:rPr lang="en-US" sz="1200" dirty="0"/>
            <a:t>Cauvery (Coimbatore + Bangalore)</a:t>
          </a:r>
        </a:p>
      </dgm:t>
    </dgm:pt>
    <dgm:pt modelId="{AB09AE89-CE83-4B16-9821-119448C5BA7F}" type="parTrans" cxnId="{7EDBB76C-3930-4649-B68E-62A8A11704FB}">
      <dgm:prSet/>
      <dgm:spPr/>
      <dgm:t>
        <a:bodyPr/>
        <a:lstStyle/>
        <a:p>
          <a:endParaRPr lang="en-US"/>
        </a:p>
      </dgm:t>
    </dgm:pt>
    <dgm:pt modelId="{CE5B4139-48A4-4CEB-AEC1-E862B6BEBFE7}" type="sibTrans" cxnId="{7EDBB76C-3930-4649-B68E-62A8A11704FB}">
      <dgm:prSet/>
      <dgm:spPr/>
      <dgm:t>
        <a:bodyPr/>
        <a:lstStyle/>
        <a:p>
          <a:endParaRPr lang="en-US"/>
        </a:p>
      </dgm:t>
    </dgm:pt>
    <dgm:pt modelId="{386DBA1F-D07E-42A9-9A22-D750C1F22142}">
      <dgm:prSet custT="1"/>
      <dgm:spPr/>
      <dgm:t>
        <a:bodyPr/>
        <a:lstStyle/>
        <a:p>
          <a:r>
            <a:rPr lang="en-US" sz="1200" dirty="0"/>
            <a:t>Mississippi (Entire Basin)</a:t>
          </a:r>
        </a:p>
      </dgm:t>
    </dgm:pt>
    <dgm:pt modelId="{D6CC4147-FBE6-4D11-828A-7C08D79D6DF3}" type="parTrans" cxnId="{F58F1DA3-3D7D-48B0-9375-E8A18406796F}">
      <dgm:prSet/>
      <dgm:spPr/>
      <dgm:t>
        <a:bodyPr/>
        <a:lstStyle/>
        <a:p>
          <a:endParaRPr lang="en-US"/>
        </a:p>
      </dgm:t>
    </dgm:pt>
    <dgm:pt modelId="{09022905-CF89-4AC6-A1E5-C9545641A1C2}" type="sibTrans" cxnId="{F58F1DA3-3D7D-48B0-9375-E8A18406796F}">
      <dgm:prSet/>
      <dgm:spPr/>
      <dgm:t>
        <a:bodyPr/>
        <a:lstStyle/>
        <a:p>
          <a:endParaRPr lang="en-US"/>
        </a:p>
      </dgm:t>
    </dgm:pt>
    <dgm:pt modelId="{E5FDC831-1530-4458-AA98-140EF315CD7F}">
      <dgm:prSet custT="1"/>
      <dgm:spPr/>
      <dgm:t>
        <a:bodyPr/>
        <a:lstStyle/>
        <a:p>
          <a:r>
            <a:rPr lang="en-US" sz="1200" dirty="0"/>
            <a:t>California – Los Angeles</a:t>
          </a:r>
        </a:p>
      </dgm:t>
    </dgm:pt>
    <dgm:pt modelId="{F2E33AFF-363F-4850-B25C-BCE6A522C1CE}" type="parTrans" cxnId="{4FC5512D-E9CC-4581-ABF8-C497DFB19401}">
      <dgm:prSet/>
      <dgm:spPr/>
      <dgm:t>
        <a:bodyPr/>
        <a:lstStyle/>
        <a:p>
          <a:endParaRPr lang="en-US"/>
        </a:p>
      </dgm:t>
    </dgm:pt>
    <dgm:pt modelId="{59DA6D42-06D3-467C-AFD6-93A41EDA47B6}" type="sibTrans" cxnId="{4FC5512D-E9CC-4581-ABF8-C497DFB19401}">
      <dgm:prSet/>
      <dgm:spPr/>
      <dgm:t>
        <a:bodyPr/>
        <a:lstStyle/>
        <a:p>
          <a:endParaRPr lang="en-US"/>
        </a:p>
      </dgm:t>
    </dgm:pt>
    <dgm:pt modelId="{AEE3AC2A-6B77-42E2-9DCE-D5D7E6710535}">
      <dgm:prSet custT="1"/>
      <dgm:spPr/>
      <dgm:t>
        <a:bodyPr/>
        <a:lstStyle/>
        <a:p>
          <a:r>
            <a:rPr lang="en-US" sz="1200" dirty="0"/>
            <a:t>Choro (</a:t>
          </a:r>
          <a:r>
            <a:rPr lang="en-US" sz="1200" dirty="0" err="1"/>
            <a:t>Ceará</a:t>
          </a:r>
          <a:r>
            <a:rPr lang="en-US" sz="1200" dirty="0"/>
            <a:t>)</a:t>
          </a:r>
        </a:p>
      </dgm:t>
    </dgm:pt>
    <dgm:pt modelId="{476DEBB9-2060-48E0-BE51-1FAB446D5D7F}" type="parTrans" cxnId="{7BA98DD3-CDFE-4051-B35C-AC71AAEA83C6}">
      <dgm:prSet/>
      <dgm:spPr/>
      <dgm:t>
        <a:bodyPr/>
        <a:lstStyle/>
        <a:p>
          <a:endParaRPr lang="en-US"/>
        </a:p>
      </dgm:t>
    </dgm:pt>
    <dgm:pt modelId="{40831E61-56FE-434A-9ED0-78E11FBEE733}" type="sibTrans" cxnId="{7BA98DD3-CDFE-4051-B35C-AC71AAEA83C6}">
      <dgm:prSet/>
      <dgm:spPr/>
      <dgm:t>
        <a:bodyPr/>
        <a:lstStyle/>
        <a:p>
          <a:endParaRPr lang="en-US"/>
        </a:p>
      </dgm:t>
    </dgm:pt>
    <dgm:pt modelId="{FF8E644A-8845-46F3-9F2C-71AE192D69E2}">
      <dgm:prSet custT="1"/>
      <dgm:spPr/>
      <dgm:t>
        <a:bodyPr/>
        <a:lstStyle/>
        <a:p>
          <a:r>
            <a:rPr lang="en-US" sz="1200" dirty="0"/>
            <a:t>South Atlantic Coast (Rio de Janeiro)</a:t>
          </a:r>
        </a:p>
      </dgm:t>
    </dgm:pt>
    <dgm:pt modelId="{D489C63A-E277-429A-9FD3-E8B4C668F6B3}" type="parTrans" cxnId="{55CA29F9-7614-40D0-82BF-D0FA2B078FA3}">
      <dgm:prSet/>
      <dgm:spPr/>
      <dgm:t>
        <a:bodyPr/>
        <a:lstStyle/>
        <a:p>
          <a:endParaRPr lang="en-US"/>
        </a:p>
      </dgm:t>
    </dgm:pt>
    <dgm:pt modelId="{3A703A8F-0DAF-4E06-A18E-3ECEEEA36DAF}" type="sibTrans" cxnId="{55CA29F9-7614-40D0-82BF-D0FA2B078FA3}">
      <dgm:prSet/>
      <dgm:spPr/>
      <dgm:t>
        <a:bodyPr/>
        <a:lstStyle/>
        <a:p>
          <a:endParaRPr lang="en-US"/>
        </a:p>
      </dgm:t>
    </dgm:pt>
    <dgm:pt modelId="{B8E78CAD-101E-4451-AE64-0133FFD4557E}">
      <dgm:prSet custT="1"/>
      <dgm:spPr/>
      <dgm:t>
        <a:bodyPr/>
        <a:lstStyle/>
        <a:p>
          <a:r>
            <a:rPr lang="en-US" sz="1200" dirty="0"/>
            <a:t>Berg – Breede (Cape Town)</a:t>
          </a:r>
        </a:p>
      </dgm:t>
    </dgm:pt>
    <dgm:pt modelId="{3897CB6B-F283-4034-93F3-BC1FDDF47092}" type="parTrans" cxnId="{3EE16FDA-702B-4E57-88B0-C197BD3B4010}">
      <dgm:prSet/>
      <dgm:spPr/>
      <dgm:t>
        <a:bodyPr/>
        <a:lstStyle/>
        <a:p>
          <a:endParaRPr lang="en-US"/>
        </a:p>
      </dgm:t>
    </dgm:pt>
    <dgm:pt modelId="{C2987A06-5CE4-4891-8189-AB6DC211E992}" type="sibTrans" cxnId="{3EE16FDA-702B-4E57-88B0-C197BD3B4010}">
      <dgm:prSet/>
      <dgm:spPr/>
      <dgm:t>
        <a:bodyPr/>
        <a:lstStyle/>
        <a:p>
          <a:endParaRPr lang="en-US"/>
        </a:p>
      </dgm:t>
    </dgm:pt>
    <dgm:pt modelId="{81AB9A27-646D-497A-9713-98CDAE409256}">
      <dgm:prSet custT="1"/>
      <dgm:spPr/>
      <dgm:t>
        <a:bodyPr/>
        <a:lstStyle/>
        <a:p>
          <a:r>
            <a:rPr lang="en-US" sz="1200" dirty="0"/>
            <a:t>Limpopo (Limpopo 3)</a:t>
          </a:r>
        </a:p>
      </dgm:t>
    </dgm:pt>
    <dgm:pt modelId="{A163B42C-79D4-4950-8BB7-35FACA3F9A4E}" type="parTrans" cxnId="{877F0581-508F-4417-83E1-2BDF577EEB07}">
      <dgm:prSet/>
      <dgm:spPr/>
      <dgm:t>
        <a:bodyPr/>
        <a:lstStyle/>
        <a:p>
          <a:endParaRPr lang="en-US"/>
        </a:p>
      </dgm:t>
    </dgm:pt>
    <dgm:pt modelId="{F2C73D87-C8C7-4D9A-9617-13BF9BCA46EC}" type="sibTrans" cxnId="{877F0581-508F-4417-83E1-2BDF577EEB07}">
      <dgm:prSet/>
      <dgm:spPr/>
      <dgm:t>
        <a:bodyPr/>
        <a:lstStyle/>
        <a:p>
          <a:endParaRPr lang="en-US"/>
        </a:p>
      </dgm:t>
    </dgm:pt>
    <dgm:pt modelId="{7EB9B130-6FEB-4E99-9C34-023E844DD3F2}">
      <dgm:prSet custT="1"/>
      <dgm:spPr/>
      <dgm:t>
        <a:bodyPr/>
        <a:lstStyle/>
        <a:p>
          <a:r>
            <a:rPr lang="en-US" sz="1200" dirty="0"/>
            <a:t>Bravo / San Juan (Monterrey +) </a:t>
          </a:r>
        </a:p>
      </dgm:t>
    </dgm:pt>
    <dgm:pt modelId="{4CAD2FD2-F58F-4EB3-8862-983A21AF718E}" type="parTrans" cxnId="{77A06B4D-A758-41B4-8D37-251A33A9F282}">
      <dgm:prSet/>
      <dgm:spPr/>
      <dgm:t>
        <a:bodyPr/>
        <a:lstStyle/>
        <a:p>
          <a:endParaRPr lang="en-US"/>
        </a:p>
      </dgm:t>
    </dgm:pt>
    <dgm:pt modelId="{0B87E0BD-D65F-4B29-8BDD-751FAD7575FF}" type="sibTrans" cxnId="{77A06B4D-A758-41B4-8D37-251A33A9F282}">
      <dgm:prSet/>
      <dgm:spPr/>
      <dgm:t>
        <a:bodyPr/>
        <a:lstStyle/>
        <a:p>
          <a:endParaRPr lang="en-US"/>
        </a:p>
      </dgm:t>
    </dgm:pt>
    <dgm:pt modelId="{2654D1D7-B4D3-43B1-8237-04A896B1FC01}">
      <dgm:prSet custT="1"/>
      <dgm:spPr/>
      <dgm:t>
        <a:bodyPr/>
        <a:lstStyle/>
        <a:p>
          <a:r>
            <a:rPr lang="en-US" sz="1200" dirty="0"/>
            <a:t>Moctezuma (Mexico City)</a:t>
          </a:r>
        </a:p>
      </dgm:t>
    </dgm:pt>
    <dgm:pt modelId="{01339B32-E23F-4C89-903F-C9EED0CE9838}" type="parTrans" cxnId="{E9F8163A-9F22-47DD-8568-7BD520D13BDB}">
      <dgm:prSet/>
      <dgm:spPr/>
      <dgm:t>
        <a:bodyPr/>
        <a:lstStyle/>
        <a:p>
          <a:endParaRPr lang="en-US"/>
        </a:p>
      </dgm:t>
    </dgm:pt>
    <dgm:pt modelId="{99D7FFCC-3815-4C0F-9DDA-2713409A05AF}" type="sibTrans" cxnId="{E9F8163A-9F22-47DD-8568-7BD520D13BDB}">
      <dgm:prSet/>
      <dgm:spPr/>
      <dgm:t>
        <a:bodyPr/>
        <a:lstStyle/>
        <a:p>
          <a:endParaRPr lang="en-US"/>
        </a:p>
      </dgm:t>
    </dgm:pt>
    <dgm:pt modelId="{AD936FE5-76CF-44F5-A7EB-CC10B872AE57}">
      <dgm:prSet custT="1"/>
      <dgm:spPr/>
      <dgm:t>
        <a:bodyPr/>
        <a:lstStyle/>
        <a:p>
          <a:r>
            <a:rPr lang="en-US" sz="1200" dirty="0"/>
            <a:t>Krishna (Mumbai – Pune)</a:t>
          </a:r>
        </a:p>
      </dgm:t>
    </dgm:pt>
    <dgm:pt modelId="{252729B0-8054-4999-82E2-E7531B210BE4}" type="parTrans" cxnId="{68498AC4-35D3-4661-9448-3C6BF7782AA2}">
      <dgm:prSet/>
      <dgm:spPr/>
      <dgm:t>
        <a:bodyPr/>
        <a:lstStyle/>
        <a:p>
          <a:endParaRPr lang="en-US"/>
        </a:p>
      </dgm:t>
    </dgm:pt>
    <dgm:pt modelId="{41A95019-4CB2-44D2-BB08-7DA196CCA923}" type="sibTrans" cxnId="{68498AC4-35D3-4661-9448-3C6BF7782AA2}">
      <dgm:prSet/>
      <dgm:spPr/>
      <dgm:t>
        <a:bodyPr/>
        <a:lstStyle/>
        <a:p>
          <a:endParaRPr lang="en-US"/>
        </a:p>
      </dgm:t>
    </dgm:pt>
    <dgm:pt modelId="{74DD5477-6344-49A4-8FFA-855D2459EDEA}">
      <dgm:prSet custT="1"/>
      <dgm:spPr/>
      <dgm:t>
        <a:bodyPr/>
        <a:lstStyle/>
        <a:p>
          <a:r>
            <a:rPr lang="en-US" sz="1200" dirty="0"/>
            <a:t>Ganges (Yamuna) (New Delhi +)</a:t>
          </a:r>
        </a:p>
      </dgm:t>
    </dgm:pt>
    <dgm:pt modelId="{6F23A47B-E810-4820-8EBE-D4CBC3436460}" type="parTrans" cxnId="{30860C39-A7F8-44DD-9CC5-0625980A35A1}">
      <dgm:prSet/>
      <dgm:spPr/>
      <dgm:t>
        <a:bodyPr/>
        <a:lstStyle/>
        <a:p>
          <a:endParaRPr lang="en-US"/>
        </a:p>
      </dgm:t>
    </dgm:pt>
    <dgm:pt modelId="{B3DAE0B6-FD5A-443C-B6F0-BE0FCCDED88E}" type="sibTrans" cxnId="{30860C39-A7F8-44DD-9CC5-0625980A35A1}">
      <dgm:prSet/>
      <dgm:spPr/>
      <dgm:t>
        <a:bodyPr/>
        <a:lstStyle/>
        <a:p>
          <a:endParaRPr lang="en-US"/>
        </a:p>
      </dgm:t>
    </dgm:pt>
    <dgm:pt modelId="{B06B16B5-497E-4337-AEA5-14865CF7744D}" type="pres">
      <dgm:prSet presAssocID="{B487E7CF-152A-4D4E-BC72-A5C22C1585F9}" presName="Name0" presStyleCnt="0">
        <dgm:presLayoutVars>
          <dgm:dir/>
          <dgm:animLvl val="lvl"/>
          <dgm:resizeHandles val="exact"/>
        </dgm:presLayoutVars>
      </dgm:prSet>
      <dgm:spPr/>
    </dgm:pt>
    <dgm:pt modelId="{1B16C837-2B00-4003-8784-B7760CE78D8C}" type="pres">
      <dgm:prSet presAssocID="{A29B77EF-4812-4876-ACF5-5381DD296F69}" presName="linNode" presStyleCnt="0"/>
      <dgm:spPr/>
    </dgm:pt>
    <dgm:pt modelId="{14F8D469-1B89-4242-AC64-7CBBC019F929}" type="pres">
      <dgm:prSet presAssocID="{A29B77EF-4812-4876-ACF5-5381DD296F69}" presName="parentText" presStyleLbl="node1" presStyleIdx="0" presStyleCnt="5">
        <dgm:presLayoutVars>
          <dgm:chMax val="1"/>
          <dgm:bulletEnabled val="1"/>
        </dgm:presLayoutVars>
      </dgm:prSet>
      <dgm:spPr/>
    </dgm:pt>
    <dgm:pt modelId="{A41D4238-A8E0-4E1B-987D-0A1AAC13C5F7}" type="pres">
      <dgm:prSet presAssocID="{A29B77EF-4812-4876-ACF5-5381DD296F69}" presName="descendantText" presStyleLbl="alignAccFollowNode1" presStyleIdx="0" presStyleCnt="5" custScaleY="108789" custLinFactNeighborX="0">
        <dgm:presLayoutVars>
          <dgm:bulletEnabled val="1"/>
        </dgm:presLayoutVars>
      </dgm:prSet>
      <dgm:spPr/>
    </dgm:pt>
    <dgm:pt modelId="{105086A1-AFAC-4EF4-9035-E1A28AFD1F48}" type="pres">
      <dgm:prSet presAssocID="{C7429F52-C0AD-4514-A2D0-0A7C934405C0}" presName="sp" presStyleCnt="0"/>
      <dgm:spPr/>
    </dgm:pt>
    <dgm:pt modelId="{886F73D4-B272-4EEA-962D-41C42C2CA6A1}" type="pres">
      <dgm:prSet presAssocID="{0B2D8259-DE48-48D0-8CD4-151C0E62E2EF}" presName="linNode" presStyleCnt="0"/>
      <dgm:spPr/>
    </dgm:pt>
    <dgm:pt modelId="{8773C839-2771-4BEB-9EEB-D3D9EA8A384E}" type="pres">
      <dgm:prSet presAssocID="{0B2D8259-DE48-48D0-8CD4-151C0E62E2EF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362B2183-B06F-4564-93C2-8BC6AE379B63}" type="pres">
      <dgm:prSet presAssocID="{0B2D8259-DE48-48D0-8CD4-151C0E62E2EF}" presName="descendantText" presStyleLbl="alignAccFollowNode1" presStyleIdx="1" presStyleCnt="5">
        <dgm:presLayoutVars>
          <dgm:bulletEnabled val="1"/>
        </dgm:presLayoutVars>
      </dgm:prSet>
      <dgm:spPr/>
    </dgm:pt>
    <dgm:pt modelId="{9D56E62D-7509-45DF-8067-8F04CF725620}" type="pres">
      <dgm:prSet presAssocID="{182065C0-354B-4380-9688-C4171C7F8C90}" presName="sp" presStyleCnt="0"/>
      <dgm:spPr/>
    </dgm:pt>
    <dgm:pt modelId="{5C3774CF-0C59-49A9-B43F-CD6E0DF31122}" type="pres">
      <dgm:prSet presAssocID="{87C703E7-680A-4BCA-9EAC-3B4BC0955A09}" presName="linNode" presStyleCnt="0"/>
      <dgm:spPr/>
    </dgm:pt>
    <dgm:pt modelId="{0F98C448-1C64-4FE7-B3F2-5C8B7B647704}" type="pres">
      <dgm:prSet presAssocID="{87C703E7-680A-4BCA-9EAC-3B4BC0955A09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B97315F7-C741-4BB4-8E79-4CC09B1E78BF}" type="pres">
      <dgm:prSet presAssocID="{87C703E7-680A-4BCA-9EAC-3B4BC0955A09}" presName="descendantText" presStyleLbl="alignAccFollowNode1" presStyleIdx="2" presStyleCnt="5">
        <dgm:presLayoutVars>
          <dgm:bulletEnabled val="1"/>
        </dgm:presLayoutVars>
      </dgm:prSet>
      <dgm:spPr/>
    </dgm:pt>
    <dgm:pt modelId="{1AAF2353-1FA1-409F-B9BF-DBF7FB4D339A}" type="pres">
      <dgm:prSet presAssocID="{4FE8157F-7991-4EC6-9E32-71FAEED93AF2}" presName="sp" presStyleCnt="0"/>
      <dgm:spPr/>
    </dgm:pt>
    <dgm:pt modelId="{9F375314-971F-4811-BDF1-C152FA7F2EE5}" type="pres">
      <dgm:prSet presAssocID="{5D305BE7-B70B-4740-BC0F-56BDF99E8521}" presName="linNode" presStyleCnt="0"/>
      <dgm:spPr/>
    </dgm:pt>
    <dgm:pt modelId="{43F914FF-93DA-463A-93E0-F2C7AE6D9E46}" type="pres">
      <dgm:prSet presAssocID="{5D305BE7-B70B-4740-BC0F-56BDF99E8521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BDD6A1FB-CFB0-4EF6-A673-0203F9F75674}" type="pres">
      <dgm:prSet presAssocID="{5D305BE7-B70B-4740-BC0F-56BDF99E8521}" presName="descendantText" presStyleLbl="alignAccFollowNode1" presStyleIdx="3" presStyleCnt="5">
        <dgm:presLayoutVars>
          <dgm:bulletEnabled val="1"/>
        </dgm:presLayoutVars>
      </dgm:prSet>
      <dgm:spPr/>
    </dgm:pt>
    <dgm:pt modelId="{011D700A-0711-49AD-80F1-6E1E219D43C1}" type="pres">
      <dgm:prSet presAssocID="{BF4A9BF4-2B03-4293-889D-F8236B8491D0}" presName="sp" presStyleCnt="0"/>
      <dgm:spPr/>
    </dgm:pt>
    <dgm:pt modelId="{F238268A-E862-46DE-AAD6-65F0AEDCEFDB}" type="pres">
      <dgm:prSet presAssocID="{90C9C7DC-5729-4FF6-9FDC-334C1465B3FE}" presName="linNode" presStyleCnt="0"/>
      <dgm:spPr/>
    </dgm:pt>
    <dgm:pt modelId="{6372AE4A-7184-423B-A684-950B6A020574}" type="pres">
      <dgm:prSet presAssocID="{90C9C7DC-5729-4FF6-9FDC-334C1465B3FE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0C5F7624-6237-4F4A-9B35-15657AC488D2}" type="pres">
      <dgm:prSet presAssocID="{90C9C7DC-5729-4FF6-9FDC-334C1465B3FE}" presName="descendantText" presStyleLbl="alignAccFollowNode1" presStyleIdx="4" presStyleCnt="5">
        <dgm:presLayoutVars>
          <dgm:bulletEnabled val="1"/>
        </dgm:presLayoutVars>
      </dgm:prSet>
      <dgm:spPr/>
    </dgm:pt>
  </dgm:ptLst>
  <dgm:cxnLst>
    <dgm:cxn modelId="{36A85403-7DC0-4EFA-BE5B-1CDDF6C25CD1}" type="presOf" srcId="{E5FDC831-1530-4458-AA98-140EF315CD7F}" destId="{362B2183-B06F-4564-93C2-8BC6AE379B63}" srcOrd="0" destOrd="2" presId="urn:microsoft.com/office/officeart/2005/8/layout/vList5"/>
    <dgm:cxn modelId="{7310740D-6692-4068-86A0-940F7ED2EB99}" srcId="{B487E7CF-152A-4D4E-BC72-A5C22C1585F9}" destId="{87C703E7-680A-4BCA-9EAC-3B4BC0955A09}" srcOrd="2" destOrd="0" parTransId="{6613C5B4-B490-4CA3-B71F-0156D1101E1A}" sibTransId="{4FE8157F-7991-4EC6-9E32-71FAEED93AF2}"/>
    <dgm:cxn modelId="{95CA8B0F-0F7C-486F-8C10-6F554A60631D}" type="presOf" srcId="{2654D1D7-B4D3-43B1-8237-04A896B1FC01}" destId="{BDD6A1FB-CFB0-4EF6-A673-0203F9F75674}" srcOrd="0" destOrd="2" presId="urn:microsoft.com/office/officeart/2005/8/layout/vList5"/>
    <dgm:cxn modelId="{2BA0C910-A9F0-4137-A9FD-E63694BA507F}" type="presOf" srcId="{386DBA1F-D07E-42A9-9A22-D750C1F22142}" destId="{362B2183-B06F-4564-93C2-8BC6AE379B63}" srcOrd="0" destOrd="1" presId="urn:microsoft.com/office/officeart/2005/8/layout/vList5"/>
    <dgm:cxn modelId="{BA421515-8974-4B1B-9A74-DD7124C42816}" srcId="{0B2D8259-DE48-48D0-8CD4-151C0E62E2EF}" destId="{3EDCB972-C5F3-40BE-8D55-95B714C0496C}" srcOrd="0" destOrd="0" parTransId="{D25446BA-FBBA-46D9-BF80-183EDE3D7897}" sibTransId="{FD3836B5-81F8-4B3F-9B9F-247F07275C71}"/>
    <dgm:cxn modelId="{58958B1C-75C7-4123-82A8-62C05CBF19AD}" type="presOf" srcId="{AEE3AC2A-6B77-42E2-9DCE-D5D7E6710535}" destId="{A41D4238-A8E0-4E1B-987D-0A1AAC13C5F7}" srcOrd="0" destOrd="1" presId="urn:microsoft.com/office/officeart/2005/8/layout/vList5"/>
    <dgm:cxn modelId="{802C2024-5C02-4762-9974-1617197CDC87}" type="presOf" srcId="{0050ABA8-A185-4C19-BEB8-B06E4D2B5A56}" destId="{BDD6A1FB-CFB0-4EF6-A673-0203F9F75674}" srcOrd="0" destOrd="0" presId="urn:microsoft.com/office/officeart/2005/8/layout/vList5"/>
    <dgm:cxn modelId="{1FF83624-9A4C-4697-9D72-97E0B27850FD}" srcId="{5D305BE7-B70B-4740-BC0F-56BDF99E8521}" destId="{0050ABA8-A185-4C19-BEB8-B06E4D2B5A56}" srcOrd="0" destOrd="0" parTransId="{69DAA001-DB4A-4693-97CA-8E1E264F7712}" sibTransId="{167C9F5B-37E7-4E8C-90DE-6D13BEA8C3D2}"/>
    <dgm:cxn modelId="{4FC5512D-E9CC-4581-ABF8-C497DFB19401}" srcId="{0B2D8259-DE48-48D0-8CD4-151C0E62E2EF}" destId="{E5FDC831-1530-4458-AA98-140EF315CD7F}" srcOrd="2" destOrd="0" parTransId="{F2E33AFF-363F-4850-B25C-BCE6A522C1CE}" sibTransId="{59DA6D42-06D3-467C-AFD6-93A41EDA47B6}"/>
    <dgm:cxn modelId="{5E897A33-D9B8-4F60-BEA6-C4A76E4248FE}" type="presOf" srcId="{90C9C7DC-5729-4FF6-9FDC-334C1465B3FE}" destId="{6372AE4A-7184-423B-A684-950B6A020574}" srcOrd="0" destOrd="0" presId="urn:microsoft.com/office/officeart/2005/8/layout/vList5"/>
    <dgm:cxn modelId="{8852E238-EFD0-4EF1-B921-BA1CA1C610BF}" srcId="{B487E7CF-152A-4D4E-BC72-A5C22C1585F9}" destId="{90C9C7DC-5729-4FF6-9FDC-334C1465B3FE}" srcOrd="4" destOrd="0" parTransId="{5B8FADC4-044B-4717-B77A-97D0589097D7}" sibTransId="{9F76EDC6-5FED-4689-9807-669F77257466}"/>
    <dgm:cxn modelId="{30860C39-A7F8-44DD-9CC5-0625980A35A1}" srcId="{90C9C7DC-5729-4FF6-9FDC-334C1465B3FE}" destId="{74DD5477-6344-49A4-8FFA-855D2459EDEA}" srcOrd="2" destOrd="0" parTransId="{6F23A47B-E810-4820-8EBE-D4CBC3436460}" sibTransId="{B3DAE0B6-FD5A-443C-B6F0-BE0FCCDED88E}"/>
    <dgm:cxn modelId="{E9F8163A-9F22-47DD-8568-7BD520D13BDB}" srcId="{5D305BE7-B70B-4740-BC0F-56BDF99E8521}" destId="{2654D1D7-B4D3-43B1-8237-04A896B1FC01}" srcOrd="2" destOrd="0" parTransId="{01339B32-E23F-4C89-903F-C9EED0CE9838}" sibTransId="{99D7FFCC-3815-4C0F-9DDA-2713409A05AF}"/>
    <dgm:cxn modelId="{7EDBB76C-3930-4649-B68E-62A8A11704FB}" srcId="{90C9C7DC-5729-4FF6-9FDC-334C1465B3FE}" destId="{19C57288-AA5B-444F-B4D8-8B13972407DA}" srcOrd="0" destOrd="0" parTransId="{AB09AE89-CE83-4B16-9821-119448C5BA7F}" sibTransId="{CE5B4139-48A4-4CEB-AEC1-E862B6BEBFE7}"/>
    <dgm:cxn modelId="{77A06B4D-A758-41B4-8D37-251A33A9F282}" srcId="{5D305BE7-B70B-4740-BC0F-56BDF99E8521}" destId="{7EB9B130-6FEB-4E99-9C34-023E844DD3F2}" srcOrd="1" destOrd="0" parTransId="{4CAD2FD2-F58F-4EB3-8862-983A21AF718E}" sibTransId="{0B87E0BD-D65F-4B29-8BDD-751FAD7575FF}"/>
    <dgm:cxn modelId="{ACBC8975-ED2F-4C8E-8C5A-83C478DED3F8}" type="presOf" srcId="{FF8E644A-8845-46F3-9F2C-71AE192D69E2}" destId="{A41D4238-A8E0-4E1B-987D-0A1AAC13C5F7}" srcOrd="0" destOrd="2" presId="urn:microsoft.com/office/officeart/2005/8/layout/vList5"/>
    <dgm:cxn modelId="{3A9B467C-6738-4DB0-9489-F6C5E848A53A}" srcId="{87C703E7-680A-4BCA-9EAC-3B4BC0955A09}" destId="{97B6BD94-826C-4CA6-B906-8451008582C0}" srcOrd="0" destOrd="0" parTransId="{37F59AFA-7FE9-44D1-B624-30D76A7CFA75}" sibTransId="{EE68E82D-A81F-48AE-B55E-0B02611D75A1}"/>
    <dgm:cxn modelId="{B97A4B7C-2C61-4755-9D93-685219837A12}" type="presOf" srcId="{97B6BD94-826C-4CA6-B906-8451008582C0}" destId="{B97315F7-C741-4BB4-8E79-4CC09B1E78BF}" srcOrd="0" destOrd="0" presId="urn:microsoft.com/office/officeart/2005/8/layout/vList5"/>
    <dgm:cxn modelId="{877F0581-508F-4417-83E1-2BDF577EEB07}" srcId="{87C703E7-680A-4BCA-9EAC-3B4BC0955A09}" destId="{81AB9A27-646D-497A-9713-98CDAE409256}" srcOrd="2" destOrd="0" parTransId="{A163B42C-79D4-4950-8BB7-35FACA3F9A4E}" sibTransId="{F2C73D87-C8C7-4D9A-9617-13BF9BCA46EC}"/>
    <dgm:cxn modelId="{BDC86891-1AFD-49E8-880E-2CD2F32899C7}" srcId="{B487E7CF-152A-4D4E-BC72-A5C22C1585F9}" destId="{A29B77EF-4812-4876-ACF5-5381DD296F69}" srcOrd="0" destOrd="0" parTransId="{EB9A13AB-2E58-45D9-A094-DB7B4C15C216}" sibTransId="{C7429F52-C0AD-4514-A2D0-0A7C934405C0}"/>
    <dgm:cxn modelId="{67179094-44F3-4D52-BDBA-4384A7FF3DD3}" type="presOf" srcId="{74DD5477-6344-49A4-8FFA-855D2459EDEA}" destId="{0C5F7624-6237-4F4A-9B35-15657AC488D2}" srcOrd="0" destOrd="2" presId="urn:microsoft.com/office/officeart/2005/8/layout/vList5"/>
    <dgm:cxn modelId="{898665A1-5A8B-47A9-A9F6-46CCFE6EA279}" type="presOf" srcId="{81AB9A27-646D-497A-9713-98CDAE409256}" destId="{B97315F7-C741-4BB4-8E79-4CC09B1E78BF}" srcOrd="0" destOrd="2" presId="urn:microsoft.com/office/officeart/2005/8/layout/vList5"/>
    <dgm:cxn modelId="{F58F1DA3-3D7D-48B0-9375-E8A18406796F}" srcId="{0B2D8259-DE48-48D0-8CD4-151C0E62E2EF}" destId="{386DBA1F-D07E-42A9-9A22-D750C1F22142}" srcOrd="1" destOrd="0" parTransId="{D6CC4147-FBE6-4D11-828A-7C08D79D6DF3}" sibTransId="{09022905-CF89-4AC6-A1E5-C9545641A1C2}"/>
    <dgm:cxn modelId="{B3F7B2A5-5772-4C55-BFDD-DF98856D2BFC}" type="presOf" srcId="{B487E7CF-152A-4D4E-BC72-A5C22C1585F9}" destId="{B06B16B5-497E-4337-AEA5-14865CF7744D}" srcOrd="0" destOrd="0" presId="urn:microsoft.com/office/officeart/2005/8/layout/vList5"/>
    <dgm:cxn modelId="{D08E96AE-3CE1-403E-8F0E-4B2D79A6E7AB}" srcId="{B487E7CF-152A-4D4E-BC72-A5C22C1585F9}" destId="{5D305BE7-B70B-4740-BC0F-56BDF99E8521}" srcOrd="3" destOrd="0" parTransId="{3E0BAF7C-8AC5-4793-A9E4-6D4B365E429F}" sibTransId="{BF4A9BF4-2B03-4293-889D-F8236B8491D0}"/>
    <dgm:cxn modelId="{6CC246B3-FB1F-4A57-9AC9-E6BE1D37133D}" type="presOf" srcId="{A29B77EF-4812-4876-ACF5-5381DD296F69}" destId="{14F8D469-1B89-4242-AC64-7CBBC019F929}" srcOrd="0" destOrd="0" presId="urn:microsoft.com/office/officeart/2005/8/layout/vList5"/>
    <dgm:cxn modelId="{F9373DC1-DF2B-4D5E-BD7F-7F48C7468C37}" type="presOf" srcId="{7EB9B130-6FEB-4E99-9C34-023E844DD3F2}" destId="{BDD6A1FB-CFB0-4EF6-A673-0203F9F75674}" srcOrd="0" destOrd="1" presId="urn:microsoft.com/office/officeart/2005/8/layout/vList5"/>
    <dgm:cxn modelId="{6D27EBC3-B965-4FCC-B9CA-FB709CFDB406}" type="presOf" srcId="{AD936FE5-76CF-44F5-A7EB-CC10B872AE57}" destId="{0C5F7624-6237-4F4A-9B35-15657AC488D2}" srcOrd="0" destOrd="1" presId="urn:microsoft.com/office/officeart/2005/8/layout/vList5"/>
    <dgm:cxn modelId="{68498AC4-35D3-4661-9448-3C6BF7782AA2}" srcId="{90C9C7DC-5729-4FF6-9FDC-334C1465B3FE}" destId="{AD936FE5-76CF-44F5-A7EB-CC10B872AE57}" srcOrd="1" destOrd="0" parTransId="{252729B0-8054-4999-82E2-E7531B210BE4}" sibTransId="{41A95019-4CB2-44D2-BB08-7DA196CCA923}"/>
    <dgm:cxn modelId="{8E3E63D0-DB24-4175-9A8D-741336D07C93}" type="presOf" srcId="{27062CAF-C13F-4468-81C2-37FE1AF42B93}" destId="{A41D4238-A8E0-4E1B-987D-0A1AAC13C5F7}" srcOrd="0" destOrd="0" presId="urn:microsoft.com/office/officeart/2005/8/layout/vList5"/>
    <dgm:cxn modelId="{7BA98DD3-CDFE-4051-B35C-AC71AAEA83C6}" srcId="{A29B77EF-4812-4876-ACF5-5381DD296F69}" destId="{AEE3AC2A-6B77-42E2-9DCE-D5D7E6710535}" srcOrd="1" destOrd="0" parTransId="{476DEBB9-2060-48E0-BE51-1FAB446D5D7F}" sibTransId="{40831E61-56FE-434A-9ED0-78E11FBEE733}"/>
    <dgm:cxn modelId="{3EE16FDA-702B-4E57-88B0-C197BD3B4010}" srcId="{87C703E7-680A-4BCA-9EAC-3B4BC0955A09}" destId="{B8E78CAD-101E-4451-AE64-0133FFD4557E}" srcOrd="1" destOrd="0" parTransId="{3897CB6B-F283-4034-93F3-BC1FDDF47092}" sibTransId="{C2987A06-5CE4-4891-8189-AB6DC211E992}"/>
    <dgm:cxn modelId="{7AAD56DF-E669-4134-923F-E703E9D8CAC5}" type="presOf" srcId="{5D305BE7-B70B-4740-BC0F-56BDF99E8521}" destId="{43F914FF-93DA-463A-93E0-F2C7AE6D9E46}" srcOrd="0" destOrd="0" presId="urn:microsoft.com/office/officeart/2005/8/layout/vList5"/>
    <dgm:cxn modelId="{A4E891E1-1A52-41D6-9818-040F8BE37B69}" type="presOf" srcId="{87C703E7-680A-4BCA-9EAC-3B4BC0955A09}" destId="{0F98C448-1C64-4FE7-B3F2-5C8B7B647704}" srcOrd="0" destOrd="0" presId="urn:microsoft.com/office/officeart/2005/8/layout/vList5"/>
    <dgm:cxn modelId="{6EE7ADEA-C046-489C-971E-442545713E5B}" srcId="{A29B77EF-4812-4876-ACF5-5381DD296F69}" destId="{27062CAF-C13F-4468-81C2-37FE1AF42B93}" srcOrd="0" destOrd="0" parTransId="{D78F6E2C-D8B9-4DDD-A307-D560F0290DF7}" sibTransId="{387763F8-95D3-431C-9DF8-6C2090CD17A9}"/>
    <dgm:cxn modelId="{9D9477F4-0B20-48DF-80A4-18774CDD781D}" srcId="{B487E7CF-152A-4D4E-BC72-A5C22C1585F9}" destId="{0B2D8259-DE48-48D0-8CD4-151C0E62E2EF}" srcOrd="1" destOrd="0" parTransId="{6A47F83C-9DD6-4975-836E-BB191E4C0619}" sibTransId="{182065C0-354B-4380-9688-C4171C7F8C90}"/>
    <dgm:cxn modelId="{28957FF7-E16B-4943-AC1C-82FA368E4FF2}" type="presOf" srcId="{3EDCB972-C5F3-40BE-8D55-95B714C0496C}" destId="{362B2183-B06F-4564-93C2-8BC6AE379B63}" srcOrd="0" destOrd="0" presId="urn:microsoft.com/office/officeart/2005/8/layout/vList5"/>
    <dgm:cxn modelId="{55CA29F9-7614-40D0-82BF-D0FA2B078FA3}" srcId="{A29B77EF-4812-4876-ACF5-5381DD296F69}" destId="{FF8E644A-8845-46F3-9F2C-71AE192D69E2}" srcOrd="2" destOrd="0" parTransId="{D489C63A-E277-429A-9FD3-E8B4C668F6B3}" sibTransId="{3A703A8F-0DAF-4E06-A18E-3ECEEEA36DAF}"/>
    <dgm:cxn modelId="{02D22AFA-E874-44A2-A34B-F17EA142E4FA}" type="presOf" srcId="{19C57288-AA5B-444F-B4D8-8B13972407DA}" destId="{0C5F7624-6237-4F4A-9B35-15657AC488D2}" srcOrd="0" destOrd="0" presId="urn:microsoft.com/office/officeart/2005/8/layout/vList5"/>
    <dgm:cxn modelId="{155DB1FB-CB9D-466F-AAFD-179958D8C3CD}" type="presOf" srcId="{B8E78CAD-101E-4451-AE64-0133FFD4557E}" destId="{B97315F7-C741-4BB4-8E79-4CC09B1E78BF}" srcOrd="0" destOrd="1" presId="urn:microsoft.com/office/officeart/2005/8/layout/vList5"/>
    <dgm:cxn modelId="{55A401FD-4C81-4A3D-9D49-B49CA809201F}" type="presOf" srcId="{0B2D8259-DE48-48D0-8CD4-151C0E62E2EF}" destId="{8773C839-2771-4BEB-9EEB-D3D9EA8A384E}" srcOrd="0" destOrd="0" presId="urn:microsoft.com/office/officeart/2005/8/layout/vList5"/>
    <dgm:cxn modelId="{548D4F4A-A9FA-4CC7-91F8-C76E91C087D6}" type="presParOf" srcId="{B06B16B5-497E-4337-AEA5-14865CF7744D}" destId="{1B16C837-2B00-4003-8784-B7760CE78D8C}" srcOrd="0" destOrd="0" presId="urn:microsoft.com/office/officeart/2005/8/layout/vList5"/>
    <dgm:cxn modelId="{A5929A2A-9622-4323-8C5A-C1C3F59412B1}" type="presParOf" srcId="{1B16C837-2B00-4003-8784-B7760CE78D8C}" destId="{14F8D469-1B89-4242-AC64-7CBBC019F929}" srcOrd="0" destOrd="0" presId="urn:microsoft.com/office/officeart/2005/8/layout/vList5"/>
    <dgm:cxn modelId="{643E1029-A114-4598-90EB-94FD90B4D2A5}" type="presParOf" srcId="{1B16C837-2B00-4003-8784-B7760CE78D8C}" destId="{A41D4238-A8E0-4E1B-987D-0A1AAC13C5F7}" srcOrd="1" destOrd="0" presId="urn:microsoft.com/office/officeart/2005/8/layout/vList5"/>
    <dgm:cxn modelId="{71CC4FF7-4D10-40BC-A05E-DDEEA4BD963A}" type="presParOf" srcId="{B06B16B5-497E-4337-AEA5-14865CF7744D}" destId="{105086A1-AFAC-4EF4-9035-E1A28AFD1F48}" srcOrd="1" destOrd="0" presId="urn:microsoft.com/office/officeart/2005/8/layout/vList5"/>
    <dgm:cxn modelId="{3C04825D-2646-4BC8-9CD8-09B253777AC3}" type="presParOf" srcId="{B06B16B5-497E-4337-AEA5-14865CF7744D}" destId="{886F73D4-B272-4EEA-962D-41C42C2CA6A1}" srcOrd="2" destOrd="0" presId="urn:microsoft.com/office/officeart/2005/8/layout/vList5"/>
    <dgm:cxn modelId="{F61BAEA8-0BA8-435E-B5BE-6E2254FF3E7F}" type="presParOf" srcId="{886F73D4-B272-4EEA-962D-41C42C2CA6A1}" destId="{8773C839-2771-4BEB-9EEB-D3D9EA8A384E}" srcOrd="0" destOrd="0" presId="urn:microsoft.com/office/officeart/2005/8/layout/vList5"/>
    <dgm:cxn modelId="{A66FF2C9-308C-41F4-BAE1-D5945AF46698}" type="presParOf" srcId="{886F73D4-B272-4EEA-962D-41C42C2CA6A1}" destId="{362B2183-B06F-4564-93C2-8BC6AE379B63}" srcOrd="1" destOrd="0" presId="urn:microsoft.com/office/officeart/2005/8/layout/vList5"/>
    <dgm:cxn modelId="{95107C41-D5EF-4C45-AE25-517E8BA24A01}" type="presParOf" srcId="{B06B16B5-497E-4337-AEA5-14865CF7744D}" destId="{9D56E62D-7509-45DF-8067-8F04CF725620}" srcOrd="3" destOrd="0" presId="urn:microsoft.com/office/officeart/2005/8/layout/vList5"/>
    <dgm:cxn modelId="{121F6844-96CB-4116-9109-AC15BDEE4B48}" type="presParOf" srcId="{B06B16B5-497E-4337-AEA5-14865CF7744D}" destId="{5C3774CF-0C59-49A9-B43F-CD6E0DF31122}" srcOrd="4" destOrd="0" presId="urn:microsoft.com/office/officeart/2005/8/layout/vList5"/>
    <dgm:cxn modelId="{4785DC13-678D-44E5-9B97-176A67B1F2B8}" type="presParOf" srcId="{5C3774CF-0C59-49A9-B43F-CD6E0DF31122}" destId="{0F98C448-1C64-4FE7-B3F2-5C8B7B647704}" srcOrd="0" destOrd="0" presId="urn:microsoft.com/office/officeart/2005/8/layout/vList5"/>
    <dgm:cxn modelId="{73EF7594-809F-4761-A950-CC6E34210422}" type="presParOf" srcId="{5C3774CF-0C59-49A9-B43F-CD6E0DF31122}" destId="{B97315F7-C741-4BB4-8E79-4CC09B1E78BF}" srcOrd="1" destOrd="0" presId="urn:microsoft.com/office/officeart/2005/8/layout/vList5"/>
    <dgm:cxn modelId="{46C7E9D6-7B40-4608-8365-8D568018CF86}" type="presParOf" srcId="{B06B16B5-497E-4337-AEA5-14865CF7744D}" destId="{1AAF2353-1FA1-409F-B9BF-DBF7FB4D339A}" srcOrd="5" destOrd="0" presId="urn:microsoft.com/office/officeart/2005/8/layout/vList5"/>
    <dgm:cxn modelId="{564F063C-EED7-4BDE-AD62-83FF2BB911DC}" type="presParOf" srcId="{B06B16B5-497E-4337-AEA5-14865CF7744D}" destId="{9F375314-971F-4811-BDF1-C152FA7F2EE5}" srcOrd="6" destOrd="0" presId="urn:microsoft.com/office/officeart/2005/8/layout/vList5"/>
    <dgm:cxn modelId="{0C5EF65E-0DBD-43BC-89AB-DC8E49BB9A44}" type="presParOf" srcId="{9F375314-971F-4811-BDF1-C152FA7F2EE5}" destId="{43F914FF-93DA-463A-93E0-F2C7AE6D9E46}" srcOrd="0" destOrd="0" presId="urn:microsoft.com/office/officeart/2005/8/layout/vList5"/>
    <dgm:cxn modelId="{1244F6BC-AA29-41E2-8A80-E72C6AB0D80F}" type="presParOf" srcId="{9F375314-971F-4811-BDF1-C152FA7F2EE5}" destId="{BDD6A1FB-CFB0-4EF6-A673-0203F9F75674}" srcOrd="1" destOrd="0" presId="urn:microsoft.com/office/officeart/2005/8/layout/vList5"/>
    <dgm:cxn modelId="{9BB99D8C-9C97-41E3-8AFD-018E5C9A3B09}" type="presParOf" srcId="{B06B16B5-497E-4337-AEA5-14865CF7744D}" destId="{011D700A-0711-49AD-80F1-6E1E219D43C1}" srcOrd="7" destOrd="0" presId="urn:microsoft.com/office/officeart/2005/8/layout/vList5"/>
    <dgm:cxn modelId="{51E23E73-1BE9-40FB-9EAE-1BBABEC3F627}" type="presParOf" srcId="{B06B16B5-497E-4337-AEA5-14865CF7744D}" destId="{F238268A-E862-46DE-AAD6-65F0AEDCEFDB}" srcOrd="8" destOrd="0" presId="urn:microsoft.com/office/officeart/2005/8/layout/vList5"/>
    <dgm:cxn modelId="{642115B1-F2C4-428C-AFE7-AFD9950A1360}" type="presParOf" srcId="{F238268A-E862-46DE-AAD6-65F0AEDCEFDB}" destId="{6372AE4A-7184-423B-A684-950B6A020574}" srcOrd="0" destOrd="0" presId="urn:microsoft.com/office/officeart/2005/8/layout/vList5"/>
    <dgm:cxn modelId="{859AAF55-DE2D-4FE2-BE14-E0D180068255}" type="presParOf" srcId="{F238268A-E862-46DE-AAD6-65F0AEDCEFDB}" destId="{0C5F7624-6237-4F4A-9B35-15657AC488D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1D4238-A8E0-4E1B-987D-0A1AAC13C5F7}">
      <dsp:nvSpPr>
        <dsp:cNvPr id="0" name=""/>
        <dsp:cNvSpPr/>
      </dsp:nvSpPr>
      <dsp:spPr>
        <a:xfrm rot="5400000">
          <a:off x="5737277" y="-2503900"/>
          <a:ext cx="573351" cy="566960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PCJ (São Paulo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horo (</a:t>
          </a:r>
          <a:r>
            <a:rPr lang="en-US" sz="1200" kern="1200" dirty="0" err="1"/>
            <a:t>Ceará</a:t>
          </a:r>
          <a:r>
            <a:rPr lang="en-US" sz="1200" kern="1200" dirty="0"/>
            <a:t>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outh Atlantic Coast (Rio de Janeiro)</a:t>
          </a:r>
        </a:p>
      </dsp:txBody>
      <dsp:txXfrm rot="-5400000">
        <a:off x="3189152" y="72214"/>
        <a:ext cx="5641613" cy="517373"/>
      </dsp:txXfrm>
    </dsp:sp>
    <dsp:sp modelId="{14F8D469-1B89-4242-AC64-7CBBC019F929}">
      <dsp:nvSpPr>
        <dsp:cNvPr id="0" name=""/>
        <dsp:cNvSpPr/>
      </dsp:nvSpPr>
      <dsp:spPr>
        <a:xfrm>
          <a:off x="0" y="1506"/>
          <a:ext cx="3189151" cy="658787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Brazil</a:t>
          </a:r>
        </a:p>
      </dsp:txBody>
      <dsp:txXfrm>
        <a:off x="32159" y="33665"/>
        <a:ext cx="3124833" cy="594469"/>
      </dsp:txXfrm>
    </dsp:sp>
    <dsp:sp modelId="{362B2183-B06F-4564-93C2-8BC6AE379B63}">
      <dsp:nvSpPr>
        <dsp:cNvPr id="0" name=""/>
        <dsp:cNvSpPr/>
      </dsp:nvSpPr>
      <dsp:spPr>
        <a:xfrm rot="5400000">
          <a:off x="5760437" y="-1812173"/>
          <a:ext cx="527030" cy="566960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alifornia - San Francisco</a:t>
          </a:r>
          <a:endParaRPr lang="en-US" sz="14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Mississippi (Entire Basin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alifornia – Los Angeles</a:t>
          </a:r>
        </a:p>
      </dsp:txBody>
      <dsp:txXfrm rot="-5400000">
        <a:off x="3189152" y="784839"/>
        <a:ext cx="5643875" cy="475576"/>
      </dsp:txXfrm>
    </dsp:sp>
    <dsp:sp modelId="{8773C839-2771-4BEB-9EEB-D3D9EA8A384E}">
      <dsp:nvSpPr>
        <dsp:cNvPr id="0" name=""/>
        <dsp:cNvSpPr/>
      </dsp:nvSpPr>
      <dsp:spPr>
        <a:xfrm>
          <a:off x="0" y="693234"/>
          <a:ext cx="3189151" cy="658787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USA</a:t>
          </a:r>
        </a:p>
      </dsp:txBody>
      <dsp:txXfrm>
        <a:off x="32159" y="725393"/>
        <a:ext cx="3124833" cy="594469"/>
      </dsp:txXfrm>
    </dsp:sp>
    <dsp:sp modelId="{B97315F7-C741-4BB4-8E79-4CC09B1E78BF}">
      <dsp:nvSpPr>
        <dsp:cNvPr id="0" name=""/>
        <dsp:cNvSpPr/>
      </dsp:nvSpPr>
      <dsp:spPr>
        <a:xfrm rot="5400000">
          <a:off x="5760437" y="-1120445"/>
          <a:ext cx="527030" cy="566960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Integrated Vaal River System (Gauteng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Berg – Breede (Cape Town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Limpopo (Limpopo 3)</a:t>
          </a:r>
        </a:p>
      </dsp:txBody>
      <dsp:txXfrm rot="-5400000">
        <a:off x="3189152" y="1476567"/>
        <a:ext cx="5643875" cy="475576"/>
      </dsp:txXfrm>
    </dsp:sp>
    <dsp:sp modelId="{0F98C448-1C64-4FE7-B3F2-5C8B7B647704}">
      <dsp:nvSpPr>
        <dsp:cNvPr id="0" name=""/>
        <dsp:cNvSpPr/>
      </dsp:nvSpPr>
      <dsp:spPr>
        <a:xfrm>
          <a:off x="0" y="1384961"/>
          <a:ext cx="3189151" cy="658787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South Africa</a:t>
          </a:r>
        </a:p>
      </dsp:txBody>
      <dsp:txXfrm>
        <a:off x="32159" y="1417120"/>
        <a:ext cx="3124833" cy="594469"/>
      </dsp:txXfrm>
    </dsp:sp>
    <dsp:sp modelId="{BDD6A1FB-CFB0-4EF6-A673-0203F9F75674}">
      <dsp:nvSpPr>
        <dsp:cNvPr id="0" name=""/>
        <dsp:cNvSpPr/>
      </dsp:nvSpPr>
      <dsp:spPr>
        <a:xfrm rot="5400000">
          <a:off x="5760437" y="-428718"/>
          <a:ext cx="527030" cy="566960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antiago Guadalajara (Queretaro)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Bravo / San Juan (Monterrey +)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Moctezuma (Mexico City)</a:t>
          </a:r>
        </a:p>
      </dsp:txBody>
      <dsp:txXfrm rot="-5400000">
        <a:off x="3189152" y="2168294"/>
        <a:ext cx="5643875" cy="475576"/>
      </dsp:txXfrm>
    </dsp:sp>
    <dsp:sp modelId="{43F914FF-93DA-463A-93E0-F2C7AE6D9E46}">
      <dsp:nvSpPr>
        <dsp:cNvPr id="0" name=""/>
        <dsp:cNvSpPr/>
      </dsp:nvSpPr>
      <dsp:spPr>
        <a:xfrm>
          <a:off x="0" y="2076688"/>
          <a:ext cx="3189151" cy="658787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Mexico</a:t>
          </a:r>
        </a:p>
      </dsp:txBody>
      <dsp:txXfrm>
        <a:off x="32159" y="2108847"/>
        <a:ext cx="3124833" cy="594469"/>
      </dsp:txXfrm>
    </dsp:sp>
    <dsp:sp modelId="{0C5F7624-6237-4F4A-9B35-15657AC488D2}">
      <dsp:nvSpPr>
        <dsp:cNvPr id="0" name=""/>
        <dsp:cNvSpPr/>
      </dsp:nvSpPr>
      <dsp:spPr>
        <a:xfrm rot="5400000">
          <a:off x="5760437" y="263008"/>
          <a:ext cx="527030" cy="566960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Cauvery (Coimbatore + Bangalore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Krishna (Mumbai – Pune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Ganges (Yamuna) (New Delhi +)</a:t>
          </a:r>
        </a:p>
      </dsp:txBody>
      <dsp:txXfrm rot="-5400000">
        <a:off x="3189152" y="2860021"/>
        <a:ext cx="5643875" cy="475576"/>
      </dsp:txXfrm>
    </dsp:sp>
    <dsp:sp modelId="{6372AE4A-7184-423B-A684-950B6A020574}">
      <dsp:nvSpPr>
        <dsp:cNvPr id="0" name=""/>
        <dsp:cNvSpPr/>
      </dsp:nvSpPr>
      <dsp:spPr>
        <a:xfrm>
          <a:off x="0" y="2768416"/>
          <a:ext cx="3189151" cy="658787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0" tIns="57150" rIns="114300" bIns="571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/>
            <a:t>India</a:t>
          </a:r>
        </a:p>
      </dsp:txBody>
      <dsp:txXfrm>
        <a:off x="32159" y="2800575"/>
        <a:ext cx="3124833" cy="5944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004D02-DBCD-E049-9759-424AF0EFF4A1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30E549-0ECE-7E45-8461-C38202A8E6C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907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nna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p of all company locations received to dat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626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ading contenders is a summary of the top basin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our next meeting, we will refine the analysis based on the feedback and divide this list into two groups- priority, lower prior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priority basins will be filtered using the minimum requireme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163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nnah</a:t>
            </a:r>
          </a:p>
          <a:p>
            <a:r>
              <a:rPr lang="en-US" dirty="0"/>
              <a:t>The top basins and company locations are shown on this map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7316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6807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nnah</a:t>
            </a:r>
          </a:p>
          <a:p>
            <a:r>
              <a:rPr lang="en-US" dirty="0"/>
              <a:t>Top basins are X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893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2643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0E549-0ECE-7E45-8461-C38202A8E6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6040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4.png"/><Relationship Id="rId4" Type="http://schemas.openxmlformats.org/officeDocument/2006/relationships/tags" Target="../tags/tag23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1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3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3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3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image" Target="../media/image3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4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4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4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4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5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4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2.xml"/><Relationship Id="rId11" Type="http://schemas.openxmlformats.org/officeDocument/2006/relationships/image" Target="../media/image2.png"/><Relationship Id="rId5" Type="http://schemas.openxmlformats.org/officeDocument/2006/relationships/tags" Target="../tags/tag101.xml"/><Relationship Id="rId10" Type="http://schemas.openxmlformats.org/officeDocument/2006/relationships/image" Target="../media/image3.emf"/><Relationship Id="rId4" Type="http://schemas.openxmlformats.org/officeDocument/2006/relationships/tags" Target="../tags/tag100.xml"/><Relationship Id="rId9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4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3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2.png"/><Relationship Id="rId4" Type="http://schemas.openxmlformats.org/officeDocument/2006/relationships/tags" Target="../tags/tag133.xml"/><Relationship Id="rId9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0.xml"/><Relationship Id="rId11" Type="http://schemas.openxmlformats.org/officeDocument/2006/relationships/image" Target="../media/image1.emf"/><Relationship Id="rId5" Type="http://schemas.openxmlformats.org/officeDocument/2006/relationships/tags" Target="../tags/tag139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8.xml"/><Relationship Id="rId9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10" Type="http://schemas.openxmlformats.org/officeDocument/2006/relationships/image" Target="../media/image3.emf"/><Relationship Id="rId4" Type="http://schemas.openxmlformats.org/officeDocument/2006/relationships/tags" Target="../tags/tag145.xml"/><Relationship Id="rId9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image" Target="../media/image3.emf"/><Relationship Id="rId4" Type="http://schemas.openxmlformats.org/officeDocument/2006/relationships/tags" Target="../tags/tag151.xml"/><Relationship Id="rId9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image" Target="../media/image3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5.xml"/><Relationship Id="rId11" Type="http://schemas.openxmlformats.org/officeDocument/2006/relationships/image" Target="../media/image3.emf"/><Relationship Id="rId5" Type="http://schemas.openxmlformats.org/officeDocument/2006/relationships/tags" Target="../tags/tag164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63.xml"/><Relationship Id="rId9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image" Target="../media/image2.png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image" Target="../media/image1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72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17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0.xml"/><Relationship Id="rId9" Type="http://schemas.openxmlformats.org/officeDocument/2006/relationships/tags" Target="../tags/tag17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image" Target="../media/image2.png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1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80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image" Target="../media/image2.png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3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8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13" Type="http://schemas.openxmlformats.org/officeDocument/2006/relationships/image" Target="../media/image2.png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1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6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image" Target="../media/image2.png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image" Target="../media/image3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0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2.xml"/><Relationship Id="rId9" Type="http://schemas.openxmlformats.org/officeDocument/2006/relationships/tags" Target="../tags/tag207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12.xml"/><Relationship Id="rId11" Type="http://schemas.openxmlformats.org/officeDocument/2006/relationships/image" Target="../media/image2.png"/><Relationship Id="rId5" Type="http://schemas.openxmlformats.org/officeDocument/2006/relationships/tags" Target="../tags/tag211.xml"/><Relationship Id="rId10" Type="http://schemas.openxmlformats.org/officeDocument/2006/relationships/image" Target="../media/image3.emf"/><Relationship Id="rId4" Type="http://schemas.openxmlformats.org/officeDocument/2006/relationships/tags" Target="../tags/tag210.xml"/><Relationship Id="rId9" Type="http://schemas.openxmlformats.org/officeDocument/2006/relationships/oleObject" Target="../embeddings/oleObject28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15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14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7" Type="http://schemas.openxmlformats.org/officeDocument/2006/relationships/image" Target="../media/image2.png"/><Relationship Id="rId2" Type="http://schemas.openxmlformats.org/officeDocument/2006/relationships/tags" Target="../tags/tag21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44.xml"/><Relationship Id="rId5" Type="http://schemas.openxmlformats.org/officeDocument/2006/relationships/tags" Target="../tags/tag243.xml"/><Relationship Id="rId10" Type="http://schemas.openxmlformats.org/officeDocument/2006/relationships/image" Target="../media/image4.png"/><Relationship Id="rId4" Type="http://schemas.openxmlformats.org/officeDocument/2006/relationships/tags" Target="../tags/tag242.xml"/><Relationship Id="rId9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49.xml"/><Relationship Id="rId11" Type="http://schemas.openxmlformats.org/officeDocument/2006/relationships/image" Target="../media/image1.emf"/><Relationship Id="rId5" Type="http://schemas.openxmlformats.org/officeDocument/2006/relationships/tags" Target="../tags/tag24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47.xml"/><Relationship Id="rId9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56.xml"/><Relationship Id="rId5" Type="http://schemas.openxmlformats.org/officeDocument/2006/relationships/tags" Target="../tags/tag255.xml"/><Relationship Id="rId10" Type="http://schemas.openxmlformats.org/officeDocument/2006/relationships/image" Target="../media/image3.emf"/><Relationship Id="rId4" Type="http://schemas.openxmlformats.org/officeDocument/2006/relationships/tags" Target="../tags/tag254.xml"/><Relationship Id="rId9" Type="http://schemas.openxmlformats.org/officeDocument/2006/relationships/oleObject" Target="../embeddings/oleObject4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62.xml"/><Relationship Id="rId5" Type="http://schemas.openxmlformats.org/officeDocument/2006/relationships/tags" Target="../tags/tag261.xml"/><Relationship Id="rId10" Type="http://schemas.openxmlformats.org/officeDocument/2006/relationships/image" Target="../media/image3.emf"/><Relationship Id="rId4" Type="http://schemas.openxmlformats.org/officeDocument/2006/relationships/tags" Target="../tags/tag260.xml"/><Relationship Id="rId9" Type="http://schemas.openxmlformats.org/officeDocument/2006/relationships/oleObject" Target="../embeddings/oleObject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68.xml"/><Relationship Id="rId5" Type="http://schemas.openxmlformats.org/officeDocument/2006/relationships/tags" Target="../tags/tag267.xml"/><Relationship Id="rId10" Type="http://schemas.openxmlformats.org/officeDocument/2006/relationships/image" Target="../media/image3.emf"/><Relationship Id="rId4" Type="http://schemas.openxmlformats.org/officeDocument/2006/relationships/tags" Target="../tags/tag266.xml"/><Relationship Id="rId9" Type="http://schemas.openxmlformats.org/officeDocument/2006/relationships/oleObject" Target="../embeddings/oleObject6.bin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76.xml"/><Relationship Id="rId3" Type="http://schemas.openxmlformats.org/officeDocument/2006/relationships/tags" Target="../tags/tag271.xml"/><Relationship Id="rId7" Type="http://schemas.openxmlformats.org/officeDocument/2006/relationships/tags" Target="../tags/tag275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74.xml"/><Relationship Id="rId11" Type="http://schemas.openxmlformats.org/officeDocument/2006/relationships/image" Target="../media/image3.emf"/><Relationship Id="rId5" Type="http://schemas.openxmlformats.org/officeDocument/2006/relationships/tags" Target="../tags/tag27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272.xml"/><Relationship Id="rId9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image" Target="../media/image4.png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image" Target="../media/image1.emf"/><Relationship Id="rId2" Type="http://schemas.openxmlformats.org/officeDocument/2006/relationships/tags" Target="../tags/tag277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8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80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79.xml"/><Relationship Id="rId9" Type="http://schemas.openxmlformats.org/officeDocument/2006/relationships/tags" Target="../tags/tag28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image" Target="../media/image4.png"/><Relationship Id="rId3" Type="http://schemas.openxmlformats.org/officeDocument/2006/relationships/tags" Target="../tags/tag286.xml"/><Relationship Id="rId7" Type="http://schemas.openxmlformats.org/officeDocument/2006/relationships/tags" Target="../tags/tag290.xml"/><Relationship Id="rId12" Type="http://schemas.openxmlformats.org/officeDocument/2006/relationships/image" Target="../media/image1.emf"/><Relationship Id="rId2" Type="http://schemas.openxmlformats.org/officeDocument/2006/relationships/tags" Target="../tags/tag285.xml"/><Relationship Id="rId1" Type="http://schemas.openxmlformats.org/officeDocument/2006/relationships/vmlDrawing" Target="../drawings/vmlDrawing39.vml"/><Relationship Id="rId6" Type="http://schemas.openxmlformats.org/officeDocument/2006/relationships/tags" Target="../tags/tag289.xml"/><Relationship Id="rId11" Type="http://schemas.openxmlformats.org/officeDocument/2006/relationships/oleObject" Target="../embeddings/oleObject9.bin"/><Relationship Id="rId5" Type="http://schemas.openxmlformats.org/officeDocument/2006/relationships/tags" Target="../tags/tag288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87.xml"/><Relationship Id="rId9" Type="http://schemas.openxmlformats.org/officeDocument/2006/relationships/tags" Target="../tags/tag29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image" Target="../media/image4.png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1.emf"/><Relationship Id="rId2" Type="http://schemas.openxmlformats.org/officeDocument/2006/relationships/tags" Target="../tags/tag293.xml"/><Relationship Id="rId1" Type="http://schemas.openxmlformats.org/officeDocument/2006/relationships/vmlDrawing" Target="../drawings/vmlDrawing40.vml"/><Relationship Id="rId6" Type="http://schemas.openxmlformats.org/officeDocument/2006/relationships/tags" Target="../tags/tag297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29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13" Type="http://schemas.openxmlformats.org/officeDocument/2006/relationships/image" Target="../media/image4.png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image" Target="../media/image5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05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30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03.xml"/><Relationship Id="rId9" Type="http://schemas.openxmlformats.org/officeDocument/2006/relationships/tags" Target="../tags/tag30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image" Target="../media/image4.png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image" Target="../media/image1.emf"/><Relationship Id="rId2" Type="http://schemas.openxmlformats.org/officeDocument/2006/relationships/tags" Target="../tags/tag309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13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31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11.xml"/><Relationship Id="rId9" Type="http://schemas.openxmlformats.org/officeDocument/2006/relationships/tags" Target="../tags/tag316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21.xml"/><Relationship Id="rId11" Type="http://schemas.openxmlformats.org/officeDocument/2006/relationships/image" Target="../media/image2.png"/><Relationship Id="rId5" Type="http://schemas.openxmlformats.org/officeDocument/2006/relationships/tags" Target="../tags/tag320.xml"/><Relationship Id="rId10" Type="http://schemas.openxmlformats.org/officeDocument/2006/relationships/image" Target="../media/image3.emf"/><Relationship Id="rId4" Type="http://schemas.openxmlformats.org/officeDocument/2006/relationships/tags" Target="../tags/tag319.xml"/><Relationship Id="rId9" Type="http://schemas.openxmlformats.org/officeDocument/2006/relationships/oleObject" Target="../embeddings/oleObject1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323.xml"/><Relationship Id="rId1" Type="http://schemas.openxmlformats.org/officeDocument/2006/relationships/vmlDrawing" Target="../drawings/vmlDrawing4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26.xml"/><Relationship Id="rId4" Type="http://schemas.openxmlformats.org/officeDocument/2006/relationships/tags" Target="../tags/tag325.xml"/><Relationship Id="rId9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4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143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52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4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5749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6885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D9DAB2-C26A-482F-B37E-D10048BE6AB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0855" y="215664"/>
            <a:ext cx="1839425" cy="76949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2549399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50783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>
                <a:solidFill>
                  <a:srgbClr val="1E325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942A9C4-7432-4F42-B957-29A4DE6DD7F6}"/>
              </a:ext>
            </a:extLst>
          </p:cNvPr>
          <p:cNvSpPr/>
          <p:nvPr userDrawn="1"/>
        </p:nvSpPr>
        <p:spPr bwMode="ltGray">
          <a:xfrm flipH="1" flipV="1">
            <a:off x="-1356" y="3824731"/>
            <a:ext cx="3159230" cy="1327395"/>
          </a:xfrm>
          <a:custGeom>
            <a:avLst/>
            <a:gdLst>
              <a:gd name="connsiteX0" fmla="*/ 4128657 w 4128418"/>
              <a:gd name="connsiteY0" fmla="*/ 1494 h 1734613"/>
              <a:gd name="connsiteX1" fmla="*/ 1494 w 4128418"/>
              <a:gd name="connsiteY1" fmla="*/ 1494 h 1734613"/>
              <a:gd name="connsiteX2" fmla="*/ 4128657 w 4128418"/>
              <a:gd name="connsiteY2" fmla="*/ 1735091 h 1734613"/>
              <a:gd name="connsiteX3" fmla="*/ 4128657 w 4128418"/>
              <a:gd name="connsiteY3" fmla="*/ 1494 h 173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418" h="1734613">
                <a:moveTo>
                  <a:pt x="4128657" y="1494"/>
                </a:moveTo>
                <a:lnTo>
                  <a:pt x="1494" y="1494"/>
                </a:lnTo>
                <a:cubicBezTo>
                  <a:pt x="1619383" y="381615"/>
                  <a:pt x="3404681" y="955113"/>
                  <a:pt x="4128657" y="1735091"/>
                </a:cubicBezTo>
                <a:lnTo>
                  <a:pt x="4128657" y="1494"/>
                </a:lnTo>
                <a:close/>
              </a:path>
            </a:pathLst>
          </a:custGeom>
          <a:solidFill>
            <a:srgbClr val="0563B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D104C17-3196-41F7-9B43-F116F92E7376}"/>
              </a:ext>
            </a:extLst>
          </p:cNvPr>
          <p:cNvSpPr/>
          <p:nvPr userDrawn="1"/>
        </p:nvSpPr>
        <p:spPr bwMode="ltGray">
          <a:xfrm flipH="1" flipV="1">
            <a:off x="-2254" y="3900930"/>
            <a:ext cx="1322822" cy="1251196"/>
          </a:xfrm>
          <a:custGeom>
            <a:avLst/>
            <a:gdLst>
              <a:gd name="connsiteX0" fmla="*/ 1727702 w 1728638"/>
              <a:gd name="connsiteY0" fmla="*/ 1494 h 1635037"/>
              <a:gd name="connsiteX1" fmla="*/ 1494 w 1728638"/>
              <a:gd name="connsiteY1" fmla="*/ 1494 h 1635037"/>
              <a:gd name="connsiteX2" fmla="*/ 1727702 w 1728638"/>
              <a:gd name="connsiteY2" fmla="*/ 1634858 h 1635037"/>
              <a:gd name="connsiteX3" fmla="*/ 1727702 w 1728638"/>
              <a:gd name="connsiteY3" fmla="*/ 1494 h 1635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638" h="1635037">
                <a:moveTo>
                  <a:pt x="1727702" y="1494"/>
                </a:moveTo>
                <a:lnTo>
                  <a:pt x="1494" y="1494"/>
                </a:lnTo>
                <a:cubicBezTo>
                  <a:pt x="873380" y="341406"/>
                  <a:pt x="1400357" y="919146"/>
                  <a:pt x="1727702" y="1634858"/>
                </a:cubicBezTo>
                <a:lnTo>
                  <a:pt x="1727702" y="1494"/>
                </a:lnTo>
                <a:close/>
              </a:path>
            </a:pathLst>
          </a:custGeom>
          <a:solidFill>
            <a:srgbClr val="00AE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D09C61A-E4C8-4146-AE83-8A9654136456}"/>
              </a:ext>
            </a:extLst>
          </p:cNvPr>
          <p:cNvSpPr/>
          <p:nvPr userDrawn="1"/>
        </p:nvSpPr>
        <p:spPr bwMode="ltGray">
          <a:xfrm flipH="1" flipV="1">
            <a:off x="-1461" y="3794251"/>
            <a:ext cx="9145461" cy="1357875"/>
          </a:xfrm>
          <a:custGeom>
            <a:avLst/>
            <a:gdLst>
              <a:gd name="connsiteX0" fmla="*/ 6273208 w 11951104"/>
              <a:gd name="connsiteY0" fmla="*/ 137972 h 1774443"/>
              <a:gd name="connsiteX1" fmla="*/ 193459 w 11951104"/>
              <a:gd name="connsiteY1" fmla="*/ 1494 h 1774443"/>
              <a:gd name="connsiteX2" fmla="*/ 2592 w 11951104"/>
              <a:gd name="connsiteY2" fmla="*/ 1494 h 1774443"/>
              <a:gd name="connsiteX3" fmla="*/ 2592 w 11951104"/>
              <a:gd name="connsiteY3" fmla="*/ 628563 h 1774443"/>
              <a:gd name="connsiteX4" fmla="*/ 3886751 w 11951104"/>
              <a:gd name="connsiteY4" fmla="*/ 1078388 h 1774443"/>
              <a:gd name="connsiteX5" fmla="*/ 11951206 w 11951104"/>
              <a:gd name="connsiteY5" fmla="*/ 1773089 h 1774443"/>
              <a:gd name="connsiteX6" fmla="*/ 11951206 w 11951104"/>
              <a:gd name="connsiteY6" fmla="*/ 1682674 h 1774443"/>
              <a:gd name="connsiteX7" fmla="*/ 6273208 w 11951104"/>
              <a:gd name="connsiteY7" fmla="*/ 137972 h 177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51104" h="1774443">
                <a:moveTo>
                  <a:pt x="6273208" y="137972"/>
                </a:moveTo>
                <a:cubicBezTo>
                  <a:pt x="3386103" y="100074"/>
                  <a:pt x="1033063" y="184753"/>
                  <a:pt x="193459" y="1494"/>
                </a:cubicBezTo>
                <a:lnTo>
                  <a:pt x="2592" y="1494"/>
                </a:lnTo>
                <a:cubicBezTo>
                  <a:pt x="6396" y="4182"/>
                  <a:pt x="-1212" y="625835"/>
                  <a:pt x="2592" y="628563"/>
                </a:cubicBezTo>
                <a:cubicBezTo>
                  <a:pt x="518973" y="996218"/>
                  <a:pt x="2112546" y="1243365"/>
                  <a:pt x="3886751" y="1078388"/>
                </a:cubicBezTo>
                <a:cubicBezTo>
                  <a:pt x="7770710" y="717305"/>
                  <a:pt x="10643078" y="903652"/>
                  <a:pt x="11951206" y="1773089"/>
                </a:cubicBezTo>
                <a:lnTo>
                  <a:pt x="11951206" y="1682674"/>
                </a:lnTo>
                <a:cubicBezTo>
                  <a:pt x="11627784" y="1172009"/>
                  <a:pt x="10592095" y="194711"/>
                  <a:pt x="6273208" y="137972"/>
                </a:cubicBezTo>
                <a:close/>
              </a:path>
            </a:pathLst>
          </a:custGeom>
          <a:solidFill>
            <a:srgbClr val="00AE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9C7F9D-E3C8-435A-8476-98B8EE4A51F7}"/>
              </a:ext>
            </a:extLst>
          </p:cNvPr>
          <p:cNvSpPr/>
          <p:nvPr userDrawn="1"/>
        </p:nvSpPr>
        <p:spPr bwMode="ltGray">
          <a:xfrm flipH="1" flipV="1">
            <a:off x="-1630" y="3807967"/>
            <a:ext cx="9067737" cy="1344159"/>
          </a:xfrm>
          <a:custGeom>
            <a:avLst/>
            <a:gdLst>
              <a:gd name="connsiteX0" fmla="*/ 11849417 w 11849537"/>
              <a:gd name="connsiteY0" fmla="*/ 1649655 h 1756519"/>
              <a:gd name="connsiteX1" fmla="*/ 9364719 w 11849537"/>
              <a:gd name="connsiteY1" fmla="*/ 1494 h 1756519"/>
              <a:gd name="connsiteX2" fmla="*/ 1494 w 11849537"/>
              <a:gd name="connsiteY2" fmla="*/ 1494 h 1756519"/>
              <a:gd name="connsiteX3" fmla="*/ 5054993 w 11849537"/>
              <a:gd name="connsiteY3" fmla="*/ 691077 h 1756519"/>
              <a:gd name="connsiteX4" fmla="*/ 11849417 w 11849537"/>
              <a:gd name="connsiteY4" fmla="*/ 1756361 h 1756519"/>
              <a:gd name="connsiteX5" fmla="*/ 11849417 w 11849537"/>
              <a:gd name="connsiteY5" fmla="*/ 1649655 h 175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9537" h="1756519">
                <a:moveTo>
                  <a:pt x="11849417" y="1649655"/>
                </a:moveTo>
                <a:cubicBezTo>
                  <a:pt x="11658092" y="1315359"/>
                  <a:pt x="11065735" y="583973"/>
                  <a:pt x="9364719" y="1494"/>
                </a:cubicBezTo>
                <a:lnTo>
                  <a:pt x="1494" y="1494"/>
                </a:lnTo>
                <a:cubicBezTo>
                  <a:pt x="561330" y="272978"/>
                  <a:pt x="2726310" y="835562"/>
                  <a:pt x="5054993" y="691077"/>
                </a:cubicBezTo>
                <a:cubicBezTo>
                  <a:pt x="8645521" y="468306"/>
                  <a:pt x="10847504" y="896901"/>
                  <a:pt x="11849417" y="1756361"/>
                </a:cubicBezTo>
                <a:lnTo>
                  <a:pt x="11849417" y="1649655"/>
                </a:lnTo>
                <a:close/>
              </a:path>
            </a:pathLst>
          </a:custGeom>
          <a:solidFill>
            <a:srgbClr val="1E325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D79A3BC-BE99-4231-9116-E4A46C0157B6}"/>
              </a:ext>
            </a:extLst>
          </p:cNvPr>
          <p:cNvSpPr/>
          <p:nvPr userDrawn="1"/>
        </p:nvSpPr>
        <p:spPr bwMode="ltGray">
          <a:xfrm flipH="1" flipV="1">
            <a:off x="-2225" y="3807967"/>
            <a:ext cx="6963108" cy="1344159"/>
          </a:xfrm>
          <a:custGeom>
            <a:avLst/>
            <a:gdLst>
              <a:gd name="connsiteX0" fmla="*/ 9098353 w 9099249"/>
              <a:gd name="connsiteY0" fmla="*/ 1718522 h 1756519"/>
              <a:gd name="connsiteX1" fmla="*/ 6564704 w 9099249"/>
              <a:gd name="connsiteY1" fmla="*/ 427958 h 1756519"/>
              <a:gd name="connsiteX2" fmla="*/ 2779065 w 9099249"/>
              <a:gd name="connsiteY2" fmla="*/ 1494 h 1756519"/>
              <a:gd name="connsiteX3" fmla="*/ 1494 w 9099249"/>
              <a:gd name="connsiteY3" fmla="*/ 1494 h 1756519"/>
              <a:gd name="connsiteX4" fmla="*/ 2435528 w 9099249"/>
              <a:gd name="connsiteY4" fmla="*/ 237827 h 1756519"/>
              <a:gd name="connsiteX5" fmla="*/ 9098353 w 9099249"/>
              <a:gd name="connsiteY5" fmla="*/ 1756639 h 1756519"/>
              <a:gd name="connsiteX6" fmla="*/ 9098353 w 9099249"/>
              <a:gd name="connsiteY6" fmla="*/ 1718522 h 175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99249" h="1756519">
                <a:moveTo>
                  <a:pt x="9098353" y="1718522"/>
                </a:moveTo>
                <a:cubicBezTo>
                  <a:pt x="8870584" y="1440924"/>
                  <a:pt x="8148598" y="726407"/>
                  <a:pt x="6564704" y="427958"/>
                </a:cubicBezTo>
                <a:cubicBezTo>
                  <a:pt x="5160344" y="163324"/>
                  <a:pt x="3987021" y="85018"/>
                  <a:pt x="2779065" y="1494"/>
                </a:cubicBezTo>
                <a:lnTo>
                  <a:pt x="1494" y="1494"/>
                </a:lnTo>
                <a:cubicBezTo>
                  <a:pt x="660467" y="103440"/>
                  <a:pt x="1463966" y="189473"/>
                  <a:pt x="2435528" y="237827"/>
                </a:cubicBezTo>
                <a:cubicBezTo>
                  <a:pt x="5705921" y="400574"/>
                  <a:pt x="8086463" y="893634"/>
                  <a:pt x="9098353" y="1756639"/>
                </a:cubicBezTo>
                <a:lnTo>
                  <a:pt x="9098353" y="1718522"/>
                </a:lnTo>
                <a:close/>
              </a:path>
            </a:pathLst>
          </a:custGeom>
          <a:solidFill>
            <a:srgbClr val="6784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716A22C-1FE3-4593-95F2-14FE2F0FE9AF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1228611" y="985157"/>
            <a:ext cx="6561535" cy="0"/>
          </a:xfrm>
          <a:prstGeom prst="line">
            <a:avLst/>
          </a:prstGeom>
          <a:ln w="19050">
            <a:solidFill>
              <a:srgbClr val="1E32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7955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6635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32010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28547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4856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40032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5603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120382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965939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667465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0152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043145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1960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CA9125-363D-4900-95E9-6167BA5EB43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571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1283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46F818-0D7B-4279-AEB6-BE70B1F3891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484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1634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943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B597F7-47FE-40D5-A5E5-FD46CD927FB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3765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73357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4CE619-18F4-447B-8A40-1E238FF28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225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62708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9678E3-7706-4D8B-BFC9-7BB391DB3F0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6378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15361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263BC5-6C21-4236-833F-CDA0553BB45C}"/>
              </a:ext>
            </a:extLst>
          </p:cNvPr>
          <p:cNvSpPr/>
          <p:nvPr userDrawn="1"/>
        </p:nvSpPr>
        <p:spPr bwMode="ltGray">
          <a:xfrm>
            <a:off x="0" y="4762796"/>
            <a:ext cx="9144000" cy="384572"/>
          </a:xfrm>
          <a:prstGeom prst="rect">
            <a:avLst/>
          </a:prstGeom>
          <a:solidFill>
            <a:srgbClr val="1E32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EE0D871-C63E-4D46-9E11-310EC3F90BE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7407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C802C796-A12D-49AC-9566-C03E6FB8162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683185" y="4822444"/>
            <a:ext cx="661378" cy="266204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96492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0924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FF375DE-79DD-446D-8A99-D190D0FEBB42}"/>
              </a:ext>
            </a:extLst>
          </p:cNvPr>
          <p:cNvSpPr/>
          <p:nvPr userDrawn="1"/>
        </p:nvSpPr>
        <p:spPr bwMode="ltGray">
          <a:xfrm>
            <a:off x="0" y="4758928"/>
            <a:ext cx="9144000" cy="384572"/>
          </a:xfrm>
          <a:prstGeom prst="rect">
            <a:avLst/>
          </a:prstGeom>
          <a:solidFill>
            <a:srgbClr val="1E32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06F17-A694-4E33-AE44-44FF63C65338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3539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04661C9-DBED-4F5E-9AC1-51F2D543B3D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7406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63587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C3C62E5-8035-4091-B914-1A94DCDD78E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18699" y="2084711"/>
            <a:ext cx="2306603" cy="964935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833149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13023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A7136E4-4A22-4227-B504-D8BD26BCED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6052" y="3382626"/>
            <a:ext cx="7295096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2561589"/>
            <a:ext cx="7295096" cy="2308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62973"/>
            <a:ext cx="7295096" cy="50783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DE3CE04-83B5-435B-A535-8CCDD5DBA835}"/>
              </a:ext>
            </a:extLst>
          </p:cNvPr>
          <p:cNvSpPr/>
          <p:nvPr userDrawn="1"/>
        </p:nvSpPr>
        <p:spPr bwMode="ltGray">
          <a:xfrm flipH="1" flipV="1">
            <a:off x="-1356" y="3824731"/>
            <a:ext cx="3159230" cy="1327395"/>
          </a:xfrm>
          <a:custGeom>
            <a:avLst/>
            <a:gdLst>
              <a:gd name="connsiteX0" fmla="*/ 4128657 w 4128418"/>
              <a:gd name="connsiteY0" fmla="*/ 1494 h 1734613"/>
              <a:gd name="connsiteX1" fmla="*/ 1494 w 4128418"/>
              <a:gd name="connsiteY1" fmla="*/ 1494 h 1734613"/>
              <a:gd name="connsiteX2" fmla="*/ 4128657 w 4128418"/>
              <a:gd name="connsiteY2" fmla="*/ 1735091 h 1734613"/>
              <a:gd name="connsiteX3" fmla="*/ 4128657 w 4128418"/>
              <a:gd name="connsiteY3" fmla="*/ 1494 h 173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418" h="1734613">
                <a:moveTo>
                  <a:pt x="4128657" y="1494"/>
                </a:moveTo>
                <a:lnTo>
                  <a:pt x="1494" y="1494"/>
                </a:lnTo>
                <a:cubicBezTo>
                  <a:pt x="1619383" y="381615"/>
                  <a:pt x="3404681" y="955113"/>
                  <a:pt x="4128657" y="1735091"/>
                </a:cubicBezTo>
                <a:lnTo>
                  <a:pt x="4128657" y="1494"/>
                </a:lnTo>
                <a:close/>
              </a:path>
            </a:pathLst>
          </a:custGeom>
          <a:solidFill>
            <a:srgbClr val="0563B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0F90C63-903B-4C8C-9049-D035A0855828}"/>
              </a:ext>
            </a:extLst>
          </p:cNvPr>
          <p:cNvSpPr/>
          <p:nvPr userDrawn="1"/>
        </p:nvSpPr>
        <p:spPr bwMode="ltGray">
          <a:xfrm flipH="1" flipV="1">
            <a:off x="-2254" y="3900930"/>
            <a:ext cx="1322822" cy="1251196"/>
          </a:xfrm>
          <a:custGeom>
            <a:avLst/>
            <a:gdLst>
              <a:gd name="connsiteX0" fmla="*/ 1727702 w 1728638"/>
              <a:gd name="connsiteY0" fmla="*/ 1494 h 1635037"/>
              <a:gd name="connsiteX1" fmla="*/ 1494 w 1728638"/>
              <a:gd name="connsiteY1" fmla="*/ 1494 h 1635037"/>
              <a:gd name="connsiteX2" fmla="*/ 1727702 w 1728638"/>
              <a:gd name="connsiteY2" fmla="*/ 1634858 h 1635037"/>
              <a:gd name="connsiteX3" fmla="*/ 1727702 w 1728638"/>
              <a:gd name="connsiteY3" fmla="*/ 1494 h 1635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638" h="1635037">
                <a:moveTo>
                  <a:pt x="1727702" y="1494"/>
                </a:moveTo>
                <a:lnTo>
                  <a:pt x="1494" y="1494"/>
                </a:lnTo>
                <a:cubicBezTo>
                  <a:pt x="873380" y="341406"/>
                  <a:pt x="1400357" y="919146"/>
                  <a:pt x="1727702" y="1634858"/>
                </a:cubicBezTo>
                <a:lnTo>
                  <a:pt x="1727702" y="1494"/>
                </a:lnTo>
                <a:close/>
              </a:path>
            </a:pathLst>
          </a:custGeom>
          <a:solidFill>
            <a:srgbClr val="00AE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503E41E-FC46-4CA1-B335-87F2E13C783C}"/>
              </a:ext>
            </a:extLst>
          </p:cNvPr>
          <p:cNvSpPr/>
          <p:nvPr userDrawn="1"/>
        </p:nvSpPr>
        <p:spPr bwMode="ltGray">
          <a:xfrm flipH="1" flipV="1">
            <a:off x="-1461" y="3794251"/>
            <a:ext cx="9145461" cy="1357875"/>
          </a:xfrm>
          <a:custGeom>
            <a:avLst/>
            <a:gdLst>
              <a:gd name="connsiteX0" fmla="*/ 6273208 w 11951104"/>
              <a:gd name="connsiteY0" fmla="*/ 137972 h 1774443"/>
              <a:gd name="connsiteX1" fmla="*/ 193459 w 11951104"/>
              <a:gd name="connsiteY1" fmla="*/ 1494 h 1774443"/>
              <a:gd name="connsiteX2" fmla="*/ 2592 w 11951104"/>
              <a:gd name="connsiteY2" fmla="*/ 1494 h 1774443"/>
              <a:gd name="connsiteX3" fmla="*/ 2592 w 11951104"/>
              <a:gd name="connsiteY3" fmla="*/ 628563 h 1774443"/>
              <a:gd name="connsiteX4" fmla="*/ 3886751 w 11951104"/>
              <a:gd name="connsiteY4" fmla="*/ 1078388 h 1774443"/>
              <a:gd name="connsiteX5" fmla="*/ 11951206 w 11951104"/>
              <a:gd name="connsiteY5" fmla="*/ 1773089 h 1774443"/>
              <a:gd name="connsiteX6" fmla="*/ 11951206 w 11951104"/>
              <a:gd name="connsiteY6" fmla="*/ 1682674 h 1774443"/>
              <a:gd name="connsiteX7" fmla="*/ 6273208 w 11951104"/>
              <a:gd name="connsiteY7" fmla="*/ 137972 h 177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51104" h="1774443">
                <a:moveTo>
                  <a:pt x="6273208" y="137972"/>
                </a:moveTo>
                <a:cubicBezTo>
                  <a:pt x="3386103" y="100074"/>
                  <a:pt x="1033063" y="184753"/>
                  <a:pt x="193459" y="1494"/>
                </a:cubicBezTo>
                <a:lnTo>
                  <a:pt x="2592" y="1494"/>
                </a:lnTo>
                <a:cubicBezTo>
                  <a:pt x="6396" y="4182"/>
                  <a:pt x="-1212" y="625835"/>
                  <a:pt x="2592" y="628563"/>
                </a:cubicBezTo>
                <a:cubicBezTo>
                  <a:pt x="518973" y="996218"/>
                  <a:pt x="2112546" y="1243365"/>
                  <a:pt x="3886751" y="1078388"/>
                </a:cubicBezTo>
                <a:cubicBezTo>
                  <a:pt x="7770710" y="717305"/>
                  <a:pt x="10643078" y="903652"/>
                  <a:pt x="11951206" y="1773089"/>
                </a:cubicBezTo>
                <a:lnTo>
                  <a:pt x="11951206" y="1682674"/>
                </a:lnTo>
                <a:cubicBezTo>
                  <a:pt x="11627784" y="1172009"/>
                  <a:pt x="10592095" y="194711"/>
                  <a:pt x="6273208" y="137972"/>
                </a:cubicBezTo>
                <a:close/>
              </a:path>
            </a:pathLst>
          </a:custGeom>
          <a:solidFill>
            <a:srgbClr val="00AE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27281F4-C458-4684-8169-C84A64720A09}"/>
              </a:ext>
            </a:extLst>
          </p:cNvPr>
          <p:cNvSpPr/>
          <p:nvPr userDrawn="1"/>
        </p:nvSpPr>
        <p:spPr bwMode="ltGray">
          <a:xfrm flipH="1" flipV="1">
            <a:off x="-1630" y="3807967"/>
            <a:ext cx="9067737" cy="1344159"/>
          </a:xfrm>
          <a:custGeom>
            <a:avLst/>
            <a:gdLst>
              <a:gd name="connsiteX0" fmla="*/ 11849417 w 11849537"/>
              <a:gd name="connsiteY0" fmla="*/ 1649655 h 1756519"/>
              <a:gd name="connsiteX1" fmla="*/ 9364719 w 11849537"/>
              <a:gd name="connsiteY1" fmla="*/ 1494 h 1756519"/>
              <a:gd name="connsiteX2" fmla="*/ 1494 w 11849537"/>
              <a:gd name="connsiteY2" fmla="*/ 1494 h 1756519"/>
              <a:gd name="connsiteX3" fmla="*/ 5054993 w 11849537"/>
              <a:gd name="connsiteY3" fmla="*/ 691077 h 1756519"/>
              <a:gd name="connsiteX4" fmla="*/ 11849417 w 11849537"/>
              <a:gd name="connsiteY4" fmla="*/ 1756361 h 1756519"/>
              <a:gd name="connsiteX5" fmla="*/ 11849417 w 11849537"/>
              <a:gd name="connsiteY5" fmla="*/ 1649655 h 175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9537" h="1756519">
                <a:moveTo>
                  <a:pt x="11849417" y="1649655"/>
                </a:moveTo>
                <a:cubicBezTo>
                  <a:pt x="11658092" y="1315359"/>
                  <a:pt x="11065735" y="583973"/>
                  <a:pt x="9364719" y="1494"/>
                </a:cubicBezTo>
                <a:lnTo>
                  <a:pt x="1494" y="1494"/>
                </a:lnTo>
                <a:cubicBezTo>
                  <a:pt x="561330" y="272978"/>
                  <a:pt x="2726310" y="835562"/>
                  <a:pt x="5054993" y="691077"/>
                </a:cubicBezTo>
                <a:cubicBezTo>
                  <a:pt x="8645521" y="468306"/>
                  <a:pt x="10847504" y="896901"/>
                  <a:pt x="11849417" y="1756361"/>
                </a:cubicBezTo>
                <a:lnTo>
                  <a:pt x="11849417" y="1649655"/>
                </a:lnTo>
                <a:close/>
              </a:path>
            </a:pathLst>
          </a:custGeom>
          <a:solidFill>
            <a:srgbClr val="1E325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01F5D72-A4D5-4F02-99E2-711A04780D69}"/>
              </a:ext>
            </a:extLst>
          </p:cNvPr>
          <p:cNvSpPr/>
          <p:nvPr userDrawn="1"/>
        </p:nvSpPr>
        <p:spPr bwMode="ltGray">
          <a:xfrm flipH="1" flipV="1">
            <a:off x="-2225" y="3807967"/>
            <a:ext cx="6963108" cy="1344159"/>
          </a:xfrm>
          <a:custGeom>
            <a:avLst/>
            <a:gdLst>
              <a:gd name="connsiteX0" fmla="*/ 9098353 w 9099249"/>
              <a:gd name="connsiteY0" fmla="*/ 1718522 h 1756519"/>
              <a:gd name="connsiteX1" fmla="*/ 6564704 w 9099249"/>
              <a:gd name="connsiteY1" fmla="*/ 427958 h 1756519"/>
              <a:gd name="connsiteX2" fmla="*/ 2779065 w 9099249"/>
              <a:gd name="connsiteY2" fmla="*/ 1494 h 1756519"/>
              <a:gd name="connsiteX3" fmla="*/ 1494 w 9099249"/>
              <a:gd name="connsiteY3" fmla="*/ 1494 h 1756519"/>
              <a:gd name="connsiteX4" fmla="*/ 2435528 w 9099249"/>
              <a:gd name="connsiteY4" fmla="*/ 237827 h 1756519"/>
              <a:gd name="connsiteX5" fmla="*/ 9098353 w 9099249"/>
              <a:gd name="connsiteY5" fmla="*/ 1756639 h 1756519"/>
              <a:gd name="connsiteX6" fmla="*/ 9098353 w 9099249"/>
              <a:gd name="connsiteY6" fmla="*/ 1718522 h 175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99249" h="1756519">
                <a:moveTo>
                  <a:pt x="9098353" y="1718522"/>
                </a:moveTo>
                <a:cubicBezTo>
                  <a:pt x="8870584" y="1440924"/>
                  <a:pt x="8148598" y="726407"/>
                  <a:pt x="6564704" y="427958"/>
                </a:cubicBezTo>
                <a:cubicBezTo>
                  <a:pt x="5160344" y="163324"/>
                  <a:pt x="3987021" y="85018"/>
                  <a:pt x="2779065" y="1494"/>
                </a:cubicBezTo>
                <a:lnTo>
                  <a:pt x="1494" y="1494"/>
                </a:lnTo>
                <a:cubicBezTo>
                  <a:pt x="660467" y="103440"/>
                  <a:pt x="1463966" y="189473"/>
                  <a:pt x="2435528" y="237827"/>
                </a:cubicBezTo>
                <a:cubicBezTo>
                  <a:pt x="5705921" y="400574"/>
                  <a:pt x="8086463" y="893634"/>
                  <a:pt x="9098353" y="1756639"/>
                </a:cubicBezTo>
                <a:lnTo>
                  <a:pt x="9098353" y="1718522"/>
                </a:lnTo>
                <a:close/>
              </a:path>
            </a:pathLst>
          </a:custGeom>
          <a:solidFill>
            <a:srgbClr val="6784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E6CBEE-B9B8-4BAF-95D7-4663B3CC8838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1228611" y="985157"/>
            <a:ext cx="656153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7FA8657-356B-4B24-BE95-54522C74F1F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08508" y="250948"/>
            <a:ext cx="1824120" cy="734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5191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18208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32010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186140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3071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64633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239533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36123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91943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3806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83854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07537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62578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782579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3301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7803FEC-3727-4B7C-9C98-548B3D1EE2E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926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11244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259918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27502A1-145E-4484-B5B8-18602A8E699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992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67691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073F869-0921-4CE0-B897-140651C5641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3339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4177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33669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361E26-350D-4A49-A04C-ED29BFA7DAC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0071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50136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DCAF174-6FE8-47C0-A4F3-7E6D50EBD6E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9835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3770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D37A9E-3818-4CC7-AAF3-415111853B51}"/>
              </a:ext>
            </a:extLst>
          </p:cNvPr>
          <p:cNvSpPr/>
          <p:nvPr userDrawn="1"/>
        </p:nvSpPr>
        <p:spPr bwMode="ltGray">
          <a:xfrm>
            <a:off x="2382" y="4758928"/>
            <a:ext cx="9144000" cy="38457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9C3B8AD-0F69-4EBD-B9C9-424BED69174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2382" y="5043539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AE6D3608-D9ED-45F1-8D00-EFEE6693230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685567" y="4818576"/>
            <a:ext cx="661378" cy="266204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619179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6519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38F0F4B-AA4B-44FC-B495-2882DA7C7C46}"/>
              </a:ext>
            </a:extLst>
          </p:cNvPr>
          <p:cNvSpPr/>
          <p:nvPr userDrawn="1"/>
        </p:nvSpPr>
        <p:spPr bwMode="ltGray">
          <a:xfrm>
            <a:off x="0" y="4758928"/>
            <a:ext cx="9144000" cy="38457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6AA8AC-CADC-4E84-8C98-748297EC7471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3539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F9E4437-2412-445B-A0C6-7B350E3EA05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011112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508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40036F-1845-4EB2-92DD-9D1995D979F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441777" y="2116838"/>
            <a:ext cx="2260446" cy="90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998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5227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9698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8D9DAB2-C26A-482F-B37E-D10048BE6AB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0855" y="215664"/>
            <a:ext cx="1839425" cy="76949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05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3956" y="2549399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5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3956" y="1950783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300" dirty="0">
                <a:solidFill>
                  <a:srgbClr val="1E325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942A9C4-7432-4F42-B957-29A4DE6DD7F6}"/>
              </a:ext>
            </a:extLst>
          </p:cNvPr>
          <p:cNvSpPr/>
          <p:nvPr userDrawn="1"/>
        </p:nvSpPr>
        <p:spPr bwMode="ltGray">
          <a:xfrm flipH="1" flipV="1">
            <a:off x="-1356" y="3824731"/>
            <a:ext cx="3159230" cy="1327395"/>
          </a:xfrm>
          <a:custGeom>
            <a:avLst/>
            <a:gdLst>
              <a:gd name="connsiteX0" fmla="*/ 4128657 w 4128418"/>
              <a:gd name="connsiteY0" fmla="*/ 1494 h 1734613"/>
              <a:gd name="connsiteX1" fmla="*/ 1494 w 4128418"/>
              <a:gd name="connsiteY1" fmla="*/ 1494 h 1734613"/>
              <a:gd name="connsiteX2" fmla="*/ 4128657 w 4128418"/>
              <a:gd name="connsiteY2" fmla="*/ 1735091 h 1734613"/>
              <a:gd name="connsiteX3" fmla="*/ 4128657 w 4128418"/>
              <a:gd name="connsiteY3" fmla="*/ 1494 h 1734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8418" h="1734613">
                <a:moveTo>
                  <a:pt x="4128657" y="1494"/>
                </a:moveTo>
                <a:lnTo>
                  <a:pt x="1494" y="1494"/>
                </a:lnTo>
                <a:cubicBezTo>
                  <a:pt x="1619383" y="381615"/>
                  <a:pt x="3404681" y="955113"/>
                  <a:pt x="4128657" y="1735091"/>
                </a:cubicBezTo>
                <a:lnTo>
                  <a:pt x="4128657" y="1494"/>
                </a:lnTo>
                <a:close/>
              </a:path>
            </a:pathLst>
          </a:custGeom>
          <a:solidFill>
            <a:srgbClr val="0563B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D104C17-3196-41F7-9B43-F116F92E7376}"/>
              </a:ext>
            </a:extLst>
          </p:cNvPr>
          <p:cNvSpPr/>
          <p:nvPr userDrawn="1"/>
        </p:nvSpPr>
        <p:spPr bwMode="ltGray">
          <a:xfrm flipH="1" flipV="1">
            <a:off x="-2254" y="3900930"/>
            <a:ext cx="1322822" cy="1251196"/>
          </a:xfrm>
          <a:custGeom>
            <a:avLst/>
            <a:gdLst>
              <a:gd name="connsiteX0" fmla="*/ 1727702 w 1728638"/>
              <a:gd name="connsiteY0" fmla="*/ 1494 h 1635037"/>
              <a:gd name="connsiteX1" fmla="*/ 1494 w 1728638"/>
              <a:gd name="connsiteY1" fmla="*/ 1494 h 1635037"/>
              <a:gd name="connsiteX2" fmla="*/ 1727702 w 1728638"/>
              <a:gd name="connsiteY2" fmla="*/ 1634858 h 1635037"/>
              <a:gd name="connsiteX3" fmla="*/ 1727702 w 1728638"/>
              <a:gd name="connsiteY3" fmla="*/ 1494 h 1635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8638" h="1635037">
                <a:moveTo>
                  <a:pt x="1727702" y="1494"/>
                </a:moveTo>
                <a:lnTo>
                  <a:pt x="1494" y="1494"/>
                </a:lnTo>
                <a:cubicBezTo>
                  <a:pt x="873380" y="341406"/>
                  <a:pt x="1400357" y="919146"/>
                  <a:pt x="1727702" y="1634858"/>
                </a:cubicBezTo>
                <a:lnTo>
                  <a:pt x="1727702" y="1494"/>
                </a:lnTo>
                <a:close/>
              </a:path>
            </a:pathLst>
          </a:custGeom>
          <a:solidFill>
            <a:srgbClr val="00AE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D09C61A-E4C8-4146-AE83-8A9654136456}"/>
              </a:ext>
            </a:extLst>
          </p:cNvPr>
          <p:cNvSpPr/>
          <p:nvPr userDrawn="1"/>
        </p:nvSpPr>
        <p:spPr bwMode="ltGray">
          <a:xfrm flipH="1" flipV="1">
            <a:off x="-1461" y="3794251"/>
            <a:ext cx="9145461" cy="1357875"/>
          </a:xfrm>
          <a:custGeom>
            <a:avLst/>
            <a:gdLst>
              <a:gd name="connsiteX0" fmla="*/ 6273208 w 11951104"/>
              <a:gd name="connsiteY0" fmla="*/ 137972 h 1774443"/>
              <a:gd name="connsiteX1" fmla="*/ 193459 w 11951104"/>
              <a:gd name="connsiteY1" fmla="*/ 1494 h 1774443"/>
              <a:gd name="connsiteX2" fmla="*/ 2592 w 11951104"/>
              <a:gd name="connsiteY2" fmla="*/ 1494 h 1774443"/>
              <a:gd name="connsiteX3" fmla="*/ 2592 w 11951104"/>
              <a:gd name="connsiteY3" fmla="*/ 628563 h 1774443"/>
              <a:gd name="connsiteX4" fmla="*/ 3886751 w 11951104"/>
              <a:gd name="connsiteY4" fmla="*/ 1078388 h 1774443"/>
              <a:gd name="connsiteX5" fmla="*/ 11951206 w 11951104"/>
              <a:gd name="connsiteY5" fmla="*/ 1773089 h 1774443"/>
              <a:gd name="connsiteX6" fmla="*/ 11951206 w 11951104"/>
              <a:gd name="connsiteY6" fmla="*/ 1682674 h 1774443"/>
              <a:gd name="connsiteX7" fmla="*/ 6273208 w 11951104"/>
              <a:gd name="connsiteY7" fmla="*/ 137972 h 1774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51104" h="1774443">
                <a:moveTo>
                  <a:pt x="6273208" y="137972"/>
                </a:moveTo>
                <a:cubicBezTo>
                  <a:pt x="3386103" y="100074"/>
                  <a:pt x="1033063" y="184753"/>
                  <a:pt x="193459" y="1494"/>
                </a:cubicBezTo>
                <a:lnTo>
                  <a:pt x="2592" y="1494"/>
                </a:lnTo>
                <a:cubicBezTo>
                  <a:pt x="6396" y="4182"/>
                  <a:pt x="-1212" y="625835"/>
                  <a:pt x="2592" y="628563"/>
                </a:cubicBezTo>
                <a:cubicBezTo>
                  <a:pt x="518973" y="996218"/>
                  <a:pt x="2112546" y="1243365"/>
                  <a:pt x="3886751" y="1078388"/>
                </a:cubicBezTo>
                <a:cubicBezTo>
                  <a:pt x="7770710" y="717305"/>
                  <a:pt x="10643078" y="903652"/>
                  <a:pt x="11951206" y="1773089"/>
                </a:cubicBezTo>
                <a:lnTo>
                  <a:pt x="11951206" y="1682674"/>
                </a:lnTo>
                <a:cubicBezTo>
                  <a:pt x="11627784" y="1172009"/>
                  <a:pt x="10592095" y="194711"/>
                  <a:pt x="6273208" y="137972"/>
                </a:cubicBezTo>
                <a:close/>
              </a:path>
            </a:pathLst>
          </a:custGeom>
          <a:solidFill>
            <a:srgbClr val="00AEE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9C7F9D-E3C8-435A-8476-98B8EE4A51F7}"/>
              </a:ext>
            </a:extLst>
          </p:cNvPr>
          <p:cNvSpPr/>
          <p:nvPr userDrawn="1"/>
        </p:nvSpPr>
        <p:spPr bwMode="ltGray">
          <a:xfrm flipH="1" flipV="1">
            <a:off x="-1630" y="3807967"/>
            <a:ext cx="9067737" cy="1344159"/>
          </a:xfrm>
          <a:custGeom>
            <a:avLst/>
            <a:gdLst>
              <a:gd name="connsiteX0" fmla="*/ 11849417 w 11849537"/>
              <a:gd name="connsiteY0" fmla="*/ 1649655 h 1756519"/>
              <a:gd name="connsiteX1" fmla="*/ 9364719 w 11849537"/>
              <a:gd name="connsiteY1" fmla="*/ 1494 h 1756519"/>
              <a:gd name="connsiteX2" fmla="*/ 1494 w 11849537"/>
              <a:gd name="connsiteY2" fmla="*/ 1494 h 1756519"/>
              <a:gd name="connsiteX3" fmla="*/ 5054993 w 11849537"/>
              <a:gd name="connsiteY3" fmla="*/ 691077 h 1756519"/>
              <a:gd name="connsiteX4" fmla="*/ 11849417 w 11849537"/>
              <a:gd name="connsiteY4" fmla="*/ 1756361 h 1756519"/>
              <a:gd name="connsiteX5" fmla="*/ 11849417 w 11849537"/>
              <a:gd name="connsiteY5" fmla="*/ 1649655 h 175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49537" h="1756519">
                <a:moveTo>
                  <a:pt x="11849417" y="1649655"/>
                </a:moveTo>
                <a:cubicBezTo>
                  <a:pt x="11658092" y="1315359"/>
                  <a:pt x="11065735" y="583973"/>
                  <a:pt x="9364719" y="1494"/>
                </a:cubicBezTo>
                <a:lnTo>
                  <a:pt x="1494" y="1494"/>
                </a:lnTo>
                <a:cubicBezTo>
                  <a:pt x="561330" y="272978"/>
                  <a:pt x="2726310" y="835562"/>
                  <a:pt x="5054993" y="691077"/>
                </a:cubicBezTo>
                <a:cubicBezTo>
                  <a:pt x="8645521" y="468306"/>
                  <a:pt x="10847504" y="896901"/>
                  <a:pt x="11849417" y="1756361"/>
                </a:cubicBezTo>
                <a:lnTo>
                  <a:pt x="11849417" y="1649655"/>
                </a:lnTo>
                <a:close/>
              </a:path>
            </a:pathLst>
          </a:custGeom>
          <a:solidFill>
            <a:srgbClr val="1E325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D79A3BC-BE99-4231-9116-E4A46C0157B6}"/>
              </a:ext>
            </a:extLst>
          </p:cNvPr>
          <p:cNvSpPr/>
          <p:nvPr userDrawn="1"/>
        </p:nvSpPr>
        <p:spPr bwMode="ltGray">
          <a:xfrm flipH="1" flipV="1">
            <a:off x="-2225" y="3807967"/>
            <a:ext cx="6963108" cy="1344159"/>
          </a:xfrm>
          <a:custGeom>
            <a:avLst/>
            <a:gdLst>
              <a:gd name="connsiteX0" fmla="*/ 9098353 w 9099249"/>
              <a:gd name="connsiteY0" fmla="*/ 1718522 h 1756519"/>
              <a:gd name="connsiteX1" fmla="*/ 6564704 w 9099249"/>
              <a:gd name="connsiteY1" fmla="*/ 427958 h 1756519"/>
              <a:gd name="connsiteX2" fmla="*/ 2779065 w 9099249"/>
              <a:gd name="connsiteY2" fmla="*/ 1494 h 1756519"/>
              <a:gd name="connsiteX3" fmla="*/ 1494 w 9099249"/>
              <a:gd name="connsiteY3" fmla="*/ 1494 h 1756519"/>
              <a:gd name="connsiteX4" fmla="*/ 2435528 w 9099249"/>
              <a:gd name="connsiteY4" fmla="*/ 237827 h 1756519"/>
              <a:gd name="connsiteX5" fmla="*/ 9098353 w 9099249"/>
              <a:gd name="connsiteY5" fmla="*/ 1756639 h 1756519"/>
              <a:gd name="connsiteX6" fmla="*/ 9098353 w 9099249"/>
              <a:gd name="connsiteY6" fmla="*/ 1718522 h 175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99249" h="1756519">
                <a:moveTo>
                  <a:pt x="9098353" y="1718522"/>
                </a:moveTo>
                <a:cubicBezTo>
                  <a:pt x="8870584" y="1440924"/>
                  <a:pt x="8148598" y="726407"/>
                  <a:pt x="6564704" y="427958"/>
                </a:cubicBezTo>
                <a:cubicBezTo>
                  <a:pt x="5160344" y="163324"/>
                  <a:pt x="3987021" y="85018"/>
                  <a:pt x="2779065" y="1494"/>
                </a:cubicBezTo>
                <a:lnTo>
                  <a:pt x="1494" y="1494"/>
                </a:lnTo>
                <a:cubicBezTo>
                  <a:pt x="660467" y="103440"/>
                  <a:pt x="1463966" y="189473"/>
                  <a:pt x="2435528" y="237827"/>
                </a:cubicBezTo>
                <a:cubicBezTo>
                  <a:pt x="5705921" y="400574"/>
                  <a:pt x="8086463" y="893634"/>
                  <a:pt x="9098353" y="1756639"/>
                </a:cubicBezTo>
                <a:lnTo>
                  <a:pt x="9098353" y="1718522"/>
                </a:lnTo>
                <a:close/>
              </a:path>
            </a:pathLst>
          </a:custGeom>
          <a:solidFill>
            <a:srgbClr val="6784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5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716A22C-1FE3-4593-95F2-14FE2F0FE9AF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1228611" y="985157"/>
            <a:ext cx="6561535" cy="0"/>
          </a:xfrm>
          <a:prstGeom prst="line">
            <a:avLst/>
          </a:prstGeom>
          <a:ln w="19050">
            <a:solidFill>
              <a:srgbClr val="1E32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8300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27304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32010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933809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3489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268170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00599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303930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49730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33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008250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3738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55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225384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35054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CCA9125-363D-4900-95E9-6167BA5EB43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895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2900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246F818-0D7B-4279-AEB6-BE70B1F3891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5655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05514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B597F7-47FE-40D5-A5E5-FD46CD927FB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9001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2551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94CE619-18F4-447B-8A40-1E238FF288A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791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6910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20708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DF5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050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16052" y="432010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9678E3-7706-4D8B-BFC9-7BB391DB3F0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83184" y="4822443"/>
            <a:ext cx="665189" cy="27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7471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2546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263BC5-6C21-4236-833F-CDA0553BB45C}"/>
              </a:ext>
            </a:extLst>
          </p:cNvPr>
          <p:cNvSpPr/>
          <p:nvPr userDrawn="1"/>
        </p:nvSpPr>
        <p:spPr bwMode="ltGray">
          <a:xfrm>
            <a:off x="0" y="4762796"/>
            <a:ext cx="9144000" cy="384572"/>
          </a:xfrm>
          <a:prstGeom prst="rect">
            <a:avLst/>
          </a:prstGeom>
          <a:solidFill>
            <a:srgbClr val="1E32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EE0D871-C63E-4D46-9E11-310EC3F90BE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7407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C802C796-A12D-49AC-9566-C03E6FB8162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7683185" y="4822444"/>
            <a:ext cx="661378" cy="266204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048102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94034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FF375DE-79DD-446D-8A99-D190D0FEBB42}"/>
              </a:ext>
            </a:extLst>
          </p:cNvPr>
          <p:cNvSpPr/>
          <p:nvPr userDrawn="1"/>
        </p:nvSpPr>
        <p:spPr bwMode="ltGray">
          <a:xfrm>
            <a:off x="0" y="4758928"/>
            <a:ext cx="9144000" cy="384572"/>
          </a:xfrm>
          <a:prstGeom prst="rect">
            <a:avLst/>
          </a:prstGeom>
          <a:solidFill>
            <a:srgbClr val="1E32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706F17-A694-4E33-AE44-44FF63C65338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3539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04661C9-DBED-4F5E-9AC1-51F2D543B3D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83185" y="4818576"/>
            <a:ext cx="661378" cy="266204"/>
          </a:xfrm>
          <a:prstGeom prst="rect">
            <a:avLst/>
          </a:prstGeom>
        </p:spPr>
      </p:pic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675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798944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49517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37059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C3C62E5-8035-4091-B914-1A94DCDD78E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418699" y="2084711"/>
            <a:ext cx="2306603" cy="964935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33669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18067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9034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493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767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671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image" Target="../media/image2.png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9" Type="http://schemas.openxmlformats.org/officeDocument/2006/relationships/image" Target="../media/image3.emf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oleObject" Target="../embeddings/oleObject16.bin"/><Relationship Id="rId2" Type="http://schemas.openxmlformats.org/officeDocument/2006/relationships/slideLayout" Target="../slideLayouts/slideLayout27.xml"/><Relationship Id="rId16" Type="http://schemas.openxmlformats.org/officeDocument/2006/relationships/vmlDrawing" Target="../drawings/vmlDrawing16.vml"/><Relationship Id="rId20" Type="http://schemas.openxmlformats.org/officeDocument/2006/relationships/tags" Target="../tags/tag113.xml"/><Relationship Id="rId29" Type="http://schemas.openxmlformats.org/officeDocument/2006/relationships/tags" Target="../tags/tag12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3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221.xml"/><Relationship Id="rId26" Type="http://schemas.openxmlformats.org/officeDocument/2006/relationships/tags" Target="../tags/tag229.xml"/><Relationship Id="rId39" Type="http://schemas.openxmlformats.org/officeDocument/2006/relationships/image" Target="../media/image2.png"/><Relationship Id="rId21" Type="http://schemas.openxmlformats.org/officeDocument/2006/relationships/tags" Target="../tags/tag224.xml"/><Relationship Id="rId34" Type="http://schemas.openxmlformats.org/officeDocument/2006/relationships/tags" Target="../tags/tag237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220.xml"/><Relationship Id="rId25" Type="http://schemas.openxmlformats.org/officeDocument/2006/relationships/tags" Target="../tags/tag228.xml"/><Relationship Id="rId33" Type="http://schemas.openxmlformats.org/officeDocument/2006/relationships/tags" Target="../tags/tag236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41.xml"/><Relationship Id="rId16" Type="http://schemas.openxmlformats.org/officeDocument/2006/relationships/vmlDrawing" Target="../drawings/vmlDrawing31.vml"/><Relationship Id="rId20" Type="http://schemas.openxmlformats.org/officeDocument/2006/relationships/tags" Target="../tags/tag223.xml"/><Relationship Id="rId29" Type="http://schemas.openxmlformats.org/officeDocument/2006/relationships/tags" Target="../tags/tag232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227.xml"/><Relationship Id="rId32" Type="http://schemas.openxmlformats.org/officeDocument/2006/relationships/tags" Target="../tags/tag235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4.xml"/><Relationship Id="rId23" Type="http://schemas.openxmlformats.org/officeDocument/2006/relationships/tags" Target="../tags/tag226.xml"/><Relationship Id="rId28" Type="http://schemas.openxmlformats.org/officeDocument/2006/relationships/tags" Target="../tags/tag231.xml"/><Relationship Id="rId36" Type="http://schemas.openxmlformats.org/officeDocument/2006/relationships/tags" Target="../tags/tag239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22.xml"/><Relationship Id="rId31" Type="http://schemas.openxmlformats.org/officeDocument/2006/relationships/tags" Target="../tags/tag23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ags" Target="../tags/tag225.xml"/><Relationship Id="rId27" Type="http://schemas.openxmlformats.org/officeDocument/2006/relationships/tags" Target="../tags/tag230.xml"/><Relationship Id="rId30" Type="http://schemas.openxmlformats.org/officeDocument/2006/relationships/tags" Target="../tags/tag233.xml"/><Relationship Id="rId35" Type="http://schemas.openxmlformats.org/officeDocument/2006/relationships/tags" Target="../tags/tag238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DDD340-5E9F-7248-B654-DB099E57AA25}" type="datetimeFigureOut">
              <a:rPr lang="en-US" smtClean="0"/>
              <a:t>11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70198D-497C-E340-8171-EC789073627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444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950899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9B23487-28E0-4479-9B18-CE0D043FAA03}"/>
              </a:ext>
            </a:extLst>
          </p:cNvPr>
          <p:cNvSpPr/>
          <p:nvPr userDrawn="1"/>
        </p:nvSpPr>
        <p:spPr bwMode="ltGray">
          <a:xfrm>
            <a:off x="0" y="4762749"/>
            <a:ext cx="9144000" cy="384572"/>
          </a:xfrm>
          <a:prstGeom prst="rect">
            <a:avLst/>
          </a:prstGeom>
          <a:solidFill>
            <a:srgbClr val="1E32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CAFCC4-110E-44E1-9FBD-93DB92A22F4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7360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0" name="Picture 149">
            <a:extLst>
              <a:ext uri="{FF2B5EF4-FFF2-40B4-BE49-F238E27FC236}">
                <a16:creationId xmlns:a16="http://schemas.microsoft.com/office/drawing/2014/main" id="{403C6D31-F111-48FA-91F5-AAE9E35D23B8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7683185" y="4822396"/>
            <a:ext cx="661378" cy="266204"/>
          </a:xfrm>
          <a:prstGeom prst="rect">
            <a:avLst/>
          </a:prstGeom>
        </p:spPr>
      </p:pic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64561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723913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/>
              <a:t>Above Chart Exhibit Title</a:t>
            </a:r>
          </a:p>
          <a:p>
            <a:pPr lvl="0"/>
            <a:r>
              <a:rPr lang="en-US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E706727-85F2-4FBF-964D-EEAF45A3B073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FA2E65C6-719C-4F59-B540-5967BCA191A6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CEECA02D-0959-4368-B68A-9AFDFDC0E6AB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F194703-3EC5-4862-83D0-13698EB1E94A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3F129D1-53A2-4A8A-BAD7-5B2C4C9F2B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23051477-C78A-47F2-9AFD-69D3D23BAA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57ED8CB-F6D7-40C2-8DBC-22D436BA0B9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425D4BA7-6188-4205-B2FC-9900748A2FC7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D2E33EE-4012-4456-89DE-69E9B63B3F96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1C3514F6-1B01-4E95-8223-A39EE74016E6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0A69977-B2D2-4123-B12A-967E595A96BE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EF7877F-27AD-41F5-B944-DAB26A1D7FB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75D0743-A482-4BB7-9766-4E597A843673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B739A16-09E2-4565-9451-E6EE69C341D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7E1500A-F596-4669-8C92-D05F11CF6CA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2D3516FD-6E60-461D-ACAB-BD9FE7D0C1E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85A03DF-3FEA-4D05-A441-4D81E396008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9FB9583C-48F8-4FDF-82A5-DB3E2776EFD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5EB0137-08AD-44C4-9A3C-9BC22AA0485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919EA32-1A4E-41DB-902E-A20A8167231C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A46C5A1-792D-4859-9ACD-53BD5AE7E37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2245F2C-4BD2-44E1-90B3-64DC2889A13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D2C15DD-4995-4A5B-AD9D-01B2EC7E0A7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298CB42-75B8-4F21-BB7E-CE9211AEEF5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E57EC0E-014C-435C-A762-1C8AA98B956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31418FE-A892-43CE-B178-5D90659701C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8AF002D-D098-4278-AF9B-CEFC0E2F5783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95D5B7B9-F3C6-4312-9E4E-39F9C874EBE5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D5EDD38C-5078-46D1-B2C7-EC038E781A75}"/>
              </a:ext>
            </a:extLst>
          </p:cNvPr>
          <p:cNvGrpSpPr/>
          <p:nvPr userDrawn="1"/>
        </p:nvGrpSpPr>
        <p:grpSpPr>
          <a:xfrm>
            <a:off x="8036098" y="3286126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31C89482-A8D2-4BF3-9979-8331FE01C0C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29C31391-86C7-4014-B303-E90CAB279CB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12B34E4-F426-4B5B-988D-66677A6C11A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7EF12FC-5552-4E5A-B800-69F85C53FFC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E65DD07-E39F-4487-A9A7-FB41177D2DAD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22875EE3-06AF-4E1F-BAD5-C080F9B325BC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5C52229-2B45-466F-9DEB-04A79FEEA62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E9D96C7-E9BF-4F1C-AAFA-075D4AA5EBF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0B6C3B71-1B88-4CAD-8210-E34DC35E979C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46DA44BF-3644-4E4A-B60B-CC9B376A619B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2113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rgbClr val="1E3250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888935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143" y="0"/>
            <a:ext cx="9142857" cy="51435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15479" y="464561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0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416052" y="723913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0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/>
              <a:t>Above Chart Exhibit Title</a:t>
            </a:r>
          </a:p>
          <a:p>
            <a:pPr lvl="0"/>
            <a:r>
              <a:rPr lang="en-US" sz="1200" b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038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A22A865A-D038-4D5C-8C9F-272B24FFD868}"/>
              </a:ext>
            </a:extLst>
          </p:cNvPr>
          <p:cNvGrpSpPr/>
          <p:nvPr userDrawn="1"/>
        </p:nvGrpSpPr>
        <p:grpSpPr>
          <a:xfrm>
            <a:off x="8036098" y="3286124"/>
            <a:ext cx="696657" cy="1287961"/>
            <a:chOff x="10554770" y="4322823"/>
            <a:chExt cx="928876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27A78A5F-711E-45E9-9128-89F753FC2DA8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F9659886-2DF9-4856-9374-F66851238C60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B60370B7-5DB6-4846-8B07-D1E8207C269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7AF57B3E-EFB0-481A-BEE2-D5127374D9D0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8E11F675-3F79-4643-8544-1BF1B6A2599F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2372B563-0A24-4D22-9591-5A8340664205}"/>
                </a:ext>
              </a:extLst>
            </p:cNvPr>
            <p:cNvSpPr txBox="1"/>
            <p:nvPr/>
          </p:nvSpPr>
          <p:spPr>
            <a:xfrm>
              <a:off x="10880917" y="43228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46C919F2-C64F-4A42-A5F6-009E1B12A066}"/>
                </a:ext>
              </a:extLst>
            </p:cNvPr>
            <p:cNvSpPr txBox="1"/>
            <p:nvPr/>
          </p:nvSpPr>
          <p:spPr>
            <a:xfrm>
              <a:off x="10880917" y="470232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30A3E01C-3688-4A66-B0E3-02D1B6B6761D}"/>
                </a:ext>
              </a:extLst>
            </p:cNvPr>
            <p:cNvSpPr txBox="1"/>
            <p:nvPr/>
          </p:nvSpPr>
          <p:spPr>
            <a:xfrm>
              <a:off x="10880917" y="5081819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406CA5C1-D489-461A-9BB8-29FC5A63104E}"/>
                </a:ext>
              </a:extLst>
            </p:cNvPr>
            <p:cNvSpPr txBox="1"/>
            <p:nvPr/>
          </p:nvSpPr>
          <p:spPr>
            <a:xfrm>
              <a:off x="1088091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EC550C69-00F6-4BBE-B02D-7E7575CA226D}"/>
                </a:ext>
              </a:extLst>
            </p:cNvPr>
            <p:cNvSpPr txBox="1"/>
            <p:nvPr/>
          </p:nvSpPr>
          <p:spPr>
            <a:xfrm>
              <a:off x="10880915" y="582466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A35510AE-6A52-4BA3-BFA1-71916F8CCD50}"/>
              </a:ext>
            </a:extLst>
          </p:cNvPr>
          <p:cNvGrpSpPr/>
          <p:nvPr userDrawn="1"/>
        </p:nvGrpSpPr>
        <p:grpSpPr>
          <a:xfrm>
            <a:off x="7737976" y="2363121"/>
            <a:ext cx="994780" cy="718715"/>
            <a:chOff x="10162879" y="3243771"/>
            <a:chExt cx="1326373" cy="958287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F53AC147-9A33-4A37-95E1-7BCB41751E92}"/>
                </a:ext>
              </a:extLst>
            </p:cNvPr>
            <p:cNvSpPr txBox="1"/>
            <p:nvPr/>
          </p:nvSpPr>
          <p:spPr>
            <a:xfrm>
              <a:off x="10886523" y="324377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D3572C51-25B8-4AF4-A8EA-CC9B336969E3}"/>
                </a:ext>
              </a:extLst>
            </p:cNvPr>
            <p:cNvSpPr txBox="1"/>
            <p:nvPr/>
          </p:nvSpPr>
          <p:spPr>
            <a:xfrm>
              <a:off x="10886521" y="361519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13E887B6-9BB5-43E0-AF13-28A5F446480B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B02083E3-E27C-45B3-8EE5-1A14169FE6F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050" baseline="0">
                <a:latin typeface="+mn-lt"/>
                <a:ea typeface="+mn-ea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4973F111-8589-4B18-9F5D-E3A1DBEDF4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050" baseline="0">
                <a:latin typeface="+mn-lt"/>
                <a:ea typeface="+mn-ea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359B770C-D572-4363-8837-53D02D64B01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050" baseline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5EBFB3B1-BFDB-4D08-8F05-3BDFB6F2DEE3}"/>
              </a:ext>
            </a:extLst>
          </p:cNvPr>
          <p:cNvGrpSpPr/>
          <p:nvPr userDrawn="1"/>
        </p:nvGrpSpPr>
        <p:grpSpPr>
          <a:xfrm>
            <a:off x="8013643" y="859942"/>
            <a:ext cx="716521" cy="1298894"/>
            <a:chOff x="7716535" y="2630582"/>
            <a:chExt cx="955362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D541FDF8-2A9D-40E4-9A40-5546C7B0660F}"/>
                </a:ext>
              </a:extLst>
            </p:cNvPr>
            <p:cNvSpPr txBox="1"/>
            <p:nvPr/>
          </p:nvSpPr>
          <p:spPr>
            <a:xfrm>
              <a:off x="8069167" y="2637941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45CFF427-9E00-44EC-AE5A-5C20B55256DA}"/>
                </a:ext>
              </a:extLst>
            </p:cNvPr>
            <p:cNvSpPr txBox="1"/>
            <p:nvPr/>
          </p:nvSpPr>
          <p:spPr>
            <a:xfrm>
              <a:off x="8069167" y="3013399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C984C442-0365-48A1-9306-04129119BB5B}"/>
                </a:ext>
              </a:extLst>
            </p:cNvPr>
            <p:cNvSpPr txBox="1"/>
            <p:nvPr/>
          </p:nvSpPr>
          <p:spPr>
            <a:xfrm>
              <a:off x="8069167" y="3388858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A74E1551-F7EC-4E7E-AC2D-0B715853AC09}"/>
                </a:ext>
              </a:extLst>
            </p:cNvPr>
            <p:cNvSpPr txBox="1"/>
            <p:nvPr/>
          </p:nvSpPr>
          <p:spPr>
            <a:xfrm>
              <a:off x="8069167" y="3764317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9A848AF1-55AA-47D5-8053-64642B8DF74E}"/>
                </a:ext>
              </a:extLst>
            </p:cNvPr>
            <p:cNvSpPr txBox="1"/>
            <p:nvPr/>
          </p:nvSpPr>
          <p:spPr>
            <a:xfrm>
              <a:off x="8069167" y="4139778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FBADDB1F-AC91-4D60-B875-3916E774547F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ADAAE03F-5545-4DEC-B06B-3D7D7131E3F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6EFE6225-63E1-4B09-BF92-89509031E72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DDB2EA09-80B2-43D0-BFC6-A34A729FC24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3F945728-7056-40CF-93A3-56C45CB5527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E476F2C4-5BA7-4A35-A263-C8EBB03DD0C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6A96198C-C904-44B5-954C-F7373FB687E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C4BC0791-88A5-4381-989E-E457BBD643C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42AD1AA7-E010-4A4E-89B3-F40D72F10C2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44DD45CD-D7AA-485C-872C-7D0320CB72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E3823D8-99BE-42B7-BD63-5D70FE220CA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5E4FFBC3-30CB-41E7-A603-022DF529901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33E3C9DF-43B9-466E-B667-D2AAE20063FF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119D5E8-4CAB-45A4-BCE1-F8B667DCD14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FB21EF9B-4231-4075-9B26-E3DEB5573E9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050"/>
              </a:p>
            </p:txBody>
          </p:sp>
        </p:grp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A0130DA6-8B62-4B81-865F-A1551B4A45AA}"/>
              </a:ext>
            </a:extLst>
          </p:cNvPr>
          <p:cNvSpPr/>
          <p:nvPr userDrawn="1"/>
        </p:nvSpPr>
        <p:spPr bwMode="ltGray">
          <a:xfrm>
            <a:off x="0" y="4762613"/>
            <a:ext cx="9144000" cy="38457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D738F848-5567-444C-8187-FE579CB0383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7224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9" name="Picture 168">
            <a:extLst>
              <a:ext uri="{FF2B5EF4-FFF2-40B4-BE49-F238E27FC236}">
                <a16:creationId xmlns:a16="http://schemas.microsoft.com/office/drawing/2014/main" id="{25B4B3D8-AAFD-495C-A772-C79C650D34B9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7683185" y="4822261"/>
            <a:ext cx="661378" cy="26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69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466228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79B23487-28E0-4479-9B18-CE0D043FAA03}"/>
              </a:ext>
            </a:extLst>
          </p:cNvPr>
          <p:cNvSpPr/>
          <p:nvPr userDrawn="1"/>
        </p:nvSpPr>
        <p:spPr bwMode="ltGray">
          <a:xfrm>
            <a:off x="0" y="4762749"/>
            <a:ext cx="9144000" cy="384572"/>
          </a:xfrm>
          <a:prstGeom prst="rect">
            <a:avLst/>
          </a:prstGeom>
          <a:solidFill>
            <a:srgbClr val="1E32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err="1">
              <a:solidFill>
                <a:schemeClr val="tx1"/>
              </a:solidFill>
            </a:endParaRP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CAFCC4-110E-44E1-9FBD-93DB92A22F43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0" y="5047360"/>
            <a:ext cx="7568293" cy="0"/>
          </a:xfrm>
          <a:prstGeom prst="line">
            <a:avLst/>
          </a:prstGeom>
          <a:ln w="19050">
            <a:solidFill>
              <a:srgbClr val="00AE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0" name="Picture 149">
            <a:extLst>
              <a:ext uri="{FF2B5EF4-FFF2-40B4-BE49-F238E27FC236}">
                <a16:creationId xmlns:a16="http://schemas.microsoft.com/office/drawing/2014/main" id="{403C6D31-F111-48FA-91F5-AAE9E35D23B8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7683185" y="4822396"/>
            <a:ext cx="661378" cy="266204"/>
          </a:xfrm>
          <a:prstGeom prst="rect">
            <a:avLst/>
          </a:prstGeom>
        </p:spPr>
      </p:pic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645612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0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723913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00"/>
              <a:t>Above Chart Exhibit Title</a:t>
            </a:r>
          </a:p>
          <a:p>
            <a:pPr lvl="0"/>
            <a:r>
              <a:rPr lang="en-US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E706727-85F2-4FBF-964D-EEAF45A3B073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FA2E65C6-719C-4F59-B540-5967BCA191A6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CEECA02D-0959-4368-B68A-9AFDFDC0E6AB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F194703-3EC5-4862-83D0-13698EB1E94A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3F129D1-53A2-4A8A-BAD7-5B2C4C9F2B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23051477-C78A-47F2-9AFD-69D3D23BAA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F57ED8CB-F6D7-40C2-8DBC-22D436BA0B9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425D4BA7-6188-4205-B2FC-9900748A2FC7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D2E33EE-4012-4456-89DE-69E9B63B3F96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1C3514F6-1B01-4E95-8223-A39EE74016E6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A0A69977-B2D2-4123-B12A-967E595A96BE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EF7877F-27AD-41F5-B944-DAB26A1D7FB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75D0743-A482-4BB7-9766-4E597A843673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BB739A16-09E2-4565-9451-E6EE69C341DF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7E1500A-F596-4669-8C92-D05F11CF6CA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2D3516FD-6E60-461D-ACAB-BD9FE7D0C1E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C85A03DF-3FEA-4D05-A441-4D81E396008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9FB9583C-48F8-4FDF-82A5-DB3E2776EFD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5EB0137-08AD-44C4-9A3C-9BC22AA0485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919EA32-1A4E-41DB-902E-A20A8167231C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0A46C5A1-792D-4859-9ACD-53BD5AE7E37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2245F2C-4BD2-44E1-90B3-64DC2889A13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7D2C15DD-4995-4A5B-AD9D-01B2EC7E0A7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298CB42-75B8-4F21-BB7E-CE9211AEEF57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E57EC0E-014C-435C-A762-1C8AA98B956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31418FE-A892-43CE-B178-5D90659701C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8AF002D-D098-4278-AF9B-CEFC0E2F5783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05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95D5B7B9-F3C6-4312-9E4E-39F9C874EBE5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D5EDD38C-5078-46D1-B2C7-EC038E781A75}"/>
              </a:ext>
            </a:extLst>
          </p:cNvPr>
          <p:cNvGrpSpPr/>
          <p:nvPr userDrawn="1"/>
        </p:nvGrpSpPr>
        <p:grpSpPr>
          <a:xfrm>
            <a:off x="8036098" y="3286126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31C89482-A8D2-4BF3-9979-8331FE01C0CA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29C31391-86C7-4014-B303-E90CAB279CB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12B34E4-F426-4B5B-988D-66677A6C11AB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7EF12FC-5552-4E5A-B800-69F85C53FFC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E65DD07-E39F-4487-A9A7-FB41177D2DAD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22875EE3-06AF-4E1F-BAD5-C080F9B325BC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5C52229-2B45-466F-9DEB-04A79FEEA62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EE9D96C7-E9BF-4F1C-AAFA-075D4AA5EBF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0B6C3B71-1B88-4CAD-8210-E34DC35E979C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46DA44BF-3644-4E4A-B60B-CC9B376A619B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en-US" sz="1050"/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1461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rgbClr val="1E3250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mailto:avramalho@pacinst.org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nature&#10;&#10;Description generated with very high confidence">
            <a:extLst>
              <a:ext uri="{FF2B5EF4-FFF2-40B4-BE49-F238E27FC236}">
                <a16:creationId xmlns:a16="http://schemas.microsoft.com/office/drawing/2014/main" id="{894CA2C5-A3C2-4CD7-BB47-B559145E0A7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55" b="30246"/>
          <a:stretch/>
        </p:blipFill>
        <p:spPr>
          <a:xfrm>
            <a:off x="0" y="1620456"/>
            <a:ext cx="9144000" cy="172783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C59171E-2A7C-417F-96E7-0D2361AD077F}"/>
              </a:ext>
            </a:extLst>
          </p:cNvPr>
          <p:cNvSpPr/>
          <p:nvPr/>
        </p:nvSpPr>
        <p:spPr>
          <a:xfrm>
            <a:off x="0" y="3333509"/>
            <a:ext cx="9144000" cy="1809991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4290" rIns="274320" bIns="34290" rtlCol="0" anchor="t"/>
          <a:lstStyle/>
          <a:p>
            <a:pPr algn="ctr">
              <a:spcBef>
                <a:spcPts val="450"/>
              </a:spcBef>
            </a:pPr>
            <a:endParaRPr lang="en-US" sz="1500" b="1" dirty="0">
              <a:latin typeface="Roboto" charset="0"/>
              <a:ea typeface="Roboto" charset="0"/>
              <a:cs typeface="Roboto" charset="0"/>
            </a:endParaRPr>
          </a:p>
          <a:p>
            <a:r>
              <a:rPr lang="en-US" sz="3000" b="1" dirty="0">
                <a:latin typeface="Roboto" pitchFamily="2" charset="0"/>
                <a:ea typeface="Roboto" pitchFamily="2" charset="0"/>
              </a:rPr>
              <a:t>Basin Selection 2021</a:t>
            </a:r>
          </a:p>
          <a:p>
            <a:endParaRPr lang="en-US" sz="18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endParaRPr lang="en-US" sz="1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2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ctober</a:t>
            </a: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</a:rPr>
              <a:t> 2020</a:t>
            </a:r>
          </a:p>
          <a:p>
            <a:pPr>
              <a:spcBef>
                <a:spcPts val="450"/>
              </a:spcBef>
            </a:pPr>
            <a:endParaRPr lang="en-US" sz="1600" i="1" dirty="0">
              <a:latin typeface="Roboto" charset="0"/>
              <a:ea typeface="Roboto" charset="0"/>
              <a:cs typeface="Roboto" charset="0"/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269BBF37-7F33-4DEC-BD9B-D0C52F60F4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8824" y="19664"/>
            <a:ext cx="4094416" cy="162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083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prstClr val="white"/>
                </a:solidFill>
                <a:highlight>
                  <a:srgbClr val="1E3250"/>
                </a:highlight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2020 BASIN SELECTION – MEMBER CLUSTERS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582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68A5939A-D7A9-4A4C-9A12-6F3E2A40B2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82112"/>
            <a:ext cx="9144000" cy="3479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831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>
              <a:defRPr/>
            </a:pPr>
            <a:r>
              <a:rPr lang="en-US" sz="2100" b="1" dirty="0">
                <a:highlight>
                  <a:srgbClr val="1E3250"/>
                </a:highlight>
                <a:latin typeface="Roboto"/>
                <a:ea typeface="Roboto"/>
                <a:cs typeface="Verdana" panose="020B0604030504040204" pitchFamily="34" charset="0"/>
              </a:rPr>
              <a:t>2020 BASIN SELECTION LEADING CONTENDERS (MEMBERS + STRESS)</a:t>
            </a:r>
            <a:endParaRPr lang="en-US" sz="2100" b="1" dirty="0">
              <a:solidFill>
                <a:prstClr val="white"/>
              </a:solidFill>
              <a:highlight>
                <a:srgbClr val="1E3250"/>
              </a:highlight>
              <a:latin typeface="Roboto" pitchFamily="2" charset="0"/>
              <a:ea typeface="Roboto" pitchFamily="2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807536C8-F10C-4886-B3CD-7A58155811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8890745"/>
              </p:ext>
            </p:extLst>
          </p:nvPr>
        </p:nvGraphicFramePr>
        <p:xfrm>
          <a:off x="92365" y="912584"/>
          <a:ext cx="8858754" cy="34287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8642320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highlight>
                  <a:srgbClr val="1E3250"/>
                </a:highlight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2020 BASIN SELECTION – RESULTS FOR BRAZIL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582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795912D-CCC0-484C-A0F3-3688DDA7A4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35944" y="893744"/>
            <a:ext cx="5614987" cy="34452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60EBF57-BAFF-4EDF-8B5C-2CC6BB87CFE7}"/>
              </a:ext>
            </a:extLst>
          </p:cNvPr>
          <p:cNvSpPr/>
          <p:nvPr/>
        </p:nvSpPr>
        <p:spPr>
          <a:xfrm>
            <a:off x="6310993" y="925305"/>
            <a:ext cx="1306286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err="1"/>
              <a:t>Ceará</a:t>
            </a:r>
            <a:r>
              <a:rPr lang="en-US" sz="1400"/>
              <a:t> (Choro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55299D-C027-4B2F-94FD-8DC63D2845D1}"/>
              </a:ext>
            </a:extLst>
          </p:cNvPr>
          <p:cNvSpPr/>
          <p:nvPr/>
        </p:nvSpPr>
        <p:spPr>
          <a:xfrm>
            <a:off x="3189514" y="3380034"/>
            <a:ext cx="1306286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/>
              <a:t>Sao Paulo (PCJ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747815-777D-4D7F-9EE6-864910BE0EC9}"/>
              </a:ext>
            </a:extLst>
          </p:cNvPr>
          <p:cNvSpPr/>
          <p:nvPr/>
        </p:nvSpPr>
        <p:spPr>
          <a:xfrm>
            <a:off x="5774871" y="2928277"/>
            <a:ext cx="1306286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/>
              <a:t>Rio de Janeiro</a:t>
            </a:r>
          </a:p>
        </p:txBody>
      </p:sp>
    </p:spTree>
    <p:extLst>
      <p:ext uri="{BB962C8B-B14F-4D97-AF65-F5344CB8AC3E}">
        <p14:creationId xmlns:p14="http://schemas.microsoft.com/office/powerpoint/2010/main" val="15180511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highlight>
                  <a:srgbClr val="1E3250"/>
                </a:highlight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2020 BASIN SELECTION – RESULTS FOR THE USA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582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D6E8E99-CA15-4CCC-A9D5-06F9D4C426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963" y="886401"/>
            <a:ext cx="7458074" cy="347173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E735A1B-3940-433D-8495-07FA5B451C4B}"/>
              </a:ext>
            </a:extLst>
          </p:cNvPr>
          <p:cNvSpPr/>
          <p:nvPr/>
        </p:nvSpPr>
        <p:spPr>
          <a:xfrm>
            <a:off x="92365" y="1937710"/>
            <a:ext cx="2026036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/>
              <a:t>California – San Francisc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524E1B4-0EF3-4CA8-810D-FF74149CD6A2}"/>
              </a:ext>
            </a:extLst>
          </p:cNvPr>
          <p:cNvSpPr/>
          <p:nvPr/>
        </p:nvSpPr>
        <p:spPr>
          <a:xfrm>
            <a:off x="92365" y="3701995"/>
            <a:ext cx="2026036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/>
              <a:t>California – Los Angeles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5C9B4DE0-9252-43C4-98AD-6F4FABAA05AB}"/>
              </a:ext>
            </a:extLst>
          </p:cNvPr>
          <p:cNvSpPr/>
          <p:nvPr/>
        </p:nvSpPr>
        <p:spPr>
          <a:xfrm>
            <a:off x="3550508" y="1194486"/>
            <a:ext cx="2347784" cy="2644346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7C90B37-03CA-4D21-B675-53FC3FCA3470}"/>
              </a:ext>
            </a:extLst>
          </p:cNvPr>
          <p:cNvSpPr/>
          <p:nvPr/>
        </p:nvSpPr>
        <p:spPr>
          <a:xfrm>
            <a:off x="5145103" y="1444244"/>
            <a:ext cx="1506378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Upper Mississippi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351680-742A-4740-8945-DC32C8A0602F}"/>
              </a:ext>
            </a:extLst>
          </p:cNvPr>
          <p:cNvSpPr/>
          <p:nvPr/>
        </p:nvSpPr>
        <p:spPr>
          <a:xfrm>
            <a:off x="2932821" y="3984809"/>
            <a:ext cx="964233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Gulf Coast</a:t>
            </a:r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C40BF261-D18F-4B97-9231-0BD321D89F06}"/>
              </a:ext>
            </a:extLst>
          </p:cNvPr>
          <p:cNvSpPr/>
          <p:nvPr/>
        </p:nvSpPr>
        <p:spPr>
          <a:xfrm>
            <a:off x="5898291" y="2463294"/>
            <a:ext cx="1573427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dirty="0"/>
              <a:t>Entire Mississippi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585444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highlight>
                  <a:srgbClr val="1E3250"/>
                </a:highlight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2020 BASIN SELECTION – RESULTS FOR SOUTH AFRICA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582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19263E28-3017-43D2-A939-F82146ECCE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92"/>
          <a:stretch/>
        </p:blipFill>
        <p:spPr>
          <a:xfrm>
            <a:off x="1332172" y="869429"/>
            <a:ext cx="6479655" cy="347186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7975195-2BDF-45B8-A78B-BFEF989B053C}"/>
              </a:ext>
            </a:extLst>
          </p:cNvPr>
          <p:cNvSpPr/>
          <p:nvPr/>
        </p:nvSpPr>
        <p:spPr>
          <a:xfrm>
            <a:off x="5384017" y="2087536"/>
            <a:ext cx="3093898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Integrated Vaal River System (Gauteng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D1B103-C957-4E13-B446-D14D7635EA69}"/>
              </a:ext>
            </a:extLst>
          </p:cNvPr>
          <p:cNvSpPr/>
          <p:nvPr/>
        </p:nvSpPr>
        <p:spPr>
          <a:xfrm>
            <a:off x="1652988" y="4355428"/>
            <a:ext cx="2191989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Berg – </a:t>
            </a:r>
            <a:r>
              <a:rPr lang="en-US" sz="1400" dirty="0" err="1"/>
              <a:t>Breede</a:t>
            </a:r>
            <a:r>
              <a:rPr lang="en-US" sz="1400" dirty="0"/>
              <a:t> (Cape Town)</a:t>
            </a:r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4ECB925D-6334-42A9-AC3A-EE6AE2870E3C}"/>
              </a:ext>
            </a:extLst>
          </p:cNvPr>
          <p:cNvSpPr/>
          <p:nvPr/>
        </p:nvSpPr>
        <p:spPr>
          <a:xfrm>
            <a:off x="4917989" y="1014436"/>
            <a:ext cx="675503" cy="675502"/>
          </a:xfrm>
          <a:prstGeom prst="ellipse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0FB4FE07-13E1-4F57-916B-E88E5720B928}"/>
              </a:ext>
            </a:extLst>
          </p:cNvPr>
          <p:cNvSpPr/>
          <p:nvPr/>
        </p:nvSpPr>
        <p:spPr>
          <a:xfrm>
            <a:off x="5668056" y="1141546"/>
            <a:ext cx="3093898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Limpopo (Limpopo 3)</a:t>
            </a:r>
          </a:p>
        </p:txBody>
      </p:sp>
    </p:spTree>
    <p:extLst>
      <p:ext uri="{BB962C8B-B14F-4D97-AF65-F5344CB8AC3E}">
        <p14:creationId xmlns:p14="http://schemas.microsoft.com/office/powerpoint/2010/main" val="9988887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Agrupar 13">
            <a:extLst>
              <a:ext uri="{FF2B5EF4-FFF2-40B4-BE49-F238E27FC236}">
                <a16:creationId xmlns:a16="http://schemas.microsoft.com/office/drawing/2014/main" id="{CA45738D-F88B-423C-A418-FE5763634BEE}"/>
              </a:ext>
            </a:extLst>
          </p:cNvPr>
          <p:cNvGrpSpPr/>
          <p:nvPr/>
        </p:nvGrpSpPr>
        <p:grpSpPr>
          <a:xfrm>
            <a:off x="2135981" y="823007"/>
            <a:ext cx="4807744" cy="3518290"/>
            <a:chOff x="1735206" y="0"/>
            <a:chExt cx="8721587" cy="6858000"/>
          </a:xfrm>
        </p:grpSpPr>
        <p:pic>
          <p:nvPicPr>
            <p:cNvPr id="16" name="Picture 1">
              <a:extLst>
                <a:ext uri="{FF2B5EF4-FFF2-40B4-BE49-F238E27FC236}">
                  <a16:creationId xmlns:a16="http://schemas.microsoft.com/office/drawing/2014/main" id="{3CB355E6-4C73-4B4C-9ECC-91BC2A6700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35206" y="0"/>
              <a:ext cx="8721587" cy="6858000"/>
            </a:xfrm>
            <a:prstGeom prst="rect">
              <a:avLst/>
            </a:prstGeom>
          </p:spPr>
        </p:pic>
        <p:sp>
          <p:nvSpPr>
            <p:cNvPr id="17" name="Oval 3">
              <a:extLst>
                <a:ext uri="{FF2B5EF4-FFF2-40B4-BE49-F238E27FC236}">
                  <a16:creationId xmlns:a16="http://schemas.microsoft.com/office/drawing/2014/main" id="{4C94F0BD-FE83-4372-A15B-8B3E214C820D}"/>
                </a:ext>
              </a:extLst>
            </p:cNvPr>
            <p:cNvSpPr/>
            <p:nvPr/>
          </p:nvSpPr>
          <p:spPr>
            <a:xfrm>
              <a:off x="4229493" y="1093509"/>
              <a:ext cx="1238054" cy="1102935"/>
            </a:xfrm>
            <a:prstGeom prst="ellipse">
              <a:avLst/>
            </a:prstGeom>
            <a:noFill/>
            <a:ln w="571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32099E39-6D1D-42A1-8B62-BF80EEE64462}"/>
                </a:ext>
              </a:extLst>
            </p:cNvPr>
            <p:cNvSpPr/>
            <p:nvPr/>
          </p:nvSpPr>
          <p:spPr>
            <a:xfrm>
              <a:off x="3542907" y="3558622"/>
              <a:ext cx="1238054" cy="1102935"/>
            </a:xfrm>
            <a:prstGeom prst="ellipse">
              <a:avLst/>
            </a:prstGeom>
            <a:noFill/>
            <a:ln w="571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7">
              <a:extLst>
                <a:ext uri="{FF2B5EF4-FFF2-40B4-BE49-F238E27FC236}">
                  <a16:creationId xmlns:a16="http://schemas.microsoft.com/office/drawing/2014/main" id="{DDC41A87-C62D-4286-A583-AA251DD23691}"/>
                </a:ext>
              </a:extLst>
            </p:cNvPr>
            <p:cNvSpPr/>
            <p:nvPr/>
          </p:nvSpPr>
          <p:spPr>
            <a:xfrm>
              <a:off x="4353231" y="5344358"/>
              <a:ext cx="990577" cy="985210"/>
            </a:xfrm>
            <a:prstGeom prst="ellipse">
              <a:avLst/>
            </a:prstGeom>
            <a:noFill/>
            <a:ln w="571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highlight>
                  <a:srgbClr val="1E3250"/>
                </a:highlight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2020 BASIN SELECTION – RESULTS FOR INDIA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582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66B1F9E-217D-43A7-A196-378F84F7E025}"/>
              </a:ext>
            </a:extLst>
          </p:cNvPr>
          <p:cNvSpPr/>
          <p:nvPr/>
        </p:nvSpPr>
        <p:spPr>
          <a:xfrm>
            <a:off x="4298662" y="1353006"/>
            <a:ext cx="2437894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Ganga (Yamuna) (New Delhi +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0CA741-29F5-4086-AFDF-37F5A282ABF8}"/>
              </a:ext>
            </a:extLst>
          </p:cNvPr>
          <p:cNvSpPr/>
          <p:nvPr/>
        </p:nvSpPr>
        <p:spPr>
          <a:xfrm>
            <a:off x="1069521" y="2795363"/>
            <a:ext cx="2037330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Krishna (Mumbai – Pune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B23FAF-744A-4EE3-BF5C-5D88E499C07E}"/>
              </a:ext>
            </a:extLst>
          </p:cNvPr>
          <p:cNvSpPr/>
          <p:nvPr/>
        </p:nvSpPr>
        <p:spPr>
          <a:xfrm>
            <a:off x="862842" y="3981710"/>
            <a:ext cx="2674865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Cauvery (Coimbatore + Bangalore)</a:t>
            </a:r>
          </a:p>
        </p:txBody>
      </p:sp>
    </p:spTree>
    <p:extLst>
      <p:ext uri="{BB962C8B-B14F-4D97-AF65-F5344CB8AC3E}">
        <p14:creationId xmlns:p14="http://schemas.microsoft.com/office/powerpoint/2010/main" val="8211772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1090"/>
            <a:ext cx="9144002" cy="834096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34290" rIns="68580" bIns="34290"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prstClr val="white"/>
                </a:solidFill>
                <a:highlight>
                  <a:srgbClr val="1E3250"/>
                </a:highlight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2020 BASIN SELECTION – RESULTS FOR MEXICO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582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6BC93F1-D093-4DDC-BAE2-470C2F8FE1C7}"/>
              </a:ext>
            </a:extLst>
          </p:cNvPr>
          <p:cNvCxnSpPr>
            <a:cxnSpLocks/>
          </p:cNvCxnSpPr>
          <p:nvPr/>
        </p:nvCxnSpPr>
        <p:spPr>
          <a:xfrm>
            <a:off x="115281" y="4421530"/>
            <a:ext cx="88898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BC77B40E-AA39-420D-B6D4-4ED22B10D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80" y="4341297"/>
            <a:ext cx="2932822" cy="87971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3E2851A0-F7AB-421D-8A26-6CE98F958F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2539" y="916303"/>
            <a:ext cx="6858922" cy="338487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7523EE2-A49F-4D4B-91C3-AA58B8662DB8}"/>
              </a:ext>
            </a:extLst>
          </p:cNvPr>
          <p:cNvSpPr/>
          <p:nvPr/>
        </p:nvSpPr>
        <p:spPr>
          <a:xfrm>
            <a:off x="5239697" y="2265780"/>
            <a:ext cx="2437894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Bravo / San Juan (Monterrey +)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BF774A-18A7-4880-8623-F9FE893EF873}"/>
              </a:ext>
            </a:extLst>
          </p:cNvPr>
          <p:cNvSpPr/>
          <p:nvPr/>
        </p:nvSpPr>
        <p:spPr>
          <a:xfrm>
            <a:off x="3857211" y="4301181"/>
            <a:ext cx="2437894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/>
              <a:t>Moctezuma (Mexico City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EA1878A-50AB-4C9D-A173-0FD6CAA69296}"/>
              </a:ext>
            </a:extLst>
          </p:cNvPr>
          <p:cNvSpPr/>
          <p:nvPr/>
        </p:nvSpPr>
        <p:spPr>
          <a:xfrm>
            <a:off x="1232807" y="3265560"/>
            <a:ext cx="2624404" cy="35648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/>
              <a:t>Santiago Guadalajara (Queretaro) </a:t>
            </a:r>
          </a:p>
        </p:txBody>
      </p:sp>
    </p:spTree>
    <p:extLst>
      <p:ext uri="{BB962C8B-B14F-4D97-AF65-F5344CB8AC3E}">
        <p14:creationId xmlns:p14="http://schemas.microsoft.com/office/powerpoint/2010/main" val="3828849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3322823"/>
            <a:ext cx="9143999" cy="1820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lvl="1"/>
            <a:r>
              <a:rPr lang="en-US" sz="2700" b="1">
                <a:solidFill>
                  <a:srgbClr val="1E3250"/>
                </a:solidFill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André Ramalho</a:t>
            </a:r>
          </a:p>
          <a:p>
            <a:pPr lvl="1"/>
            <a:endParaRPr lang="en-US" sz="1600" b="1">
              <a:solidFill>
                <a:srgbClr val="1E3250"/>
              </a:solidFill>
              <a:latin typeface="Roboto" panose="02000000000000000000" pitchFamily="2" charset="0"/>
              <a:ea typeface="Roboto" panose="02000000000000000000" pitchFamily="2" charset="0"/>
              <a:cs typeface="Verdana" panose="020B0604030504040204" pitchFamily="34" charset="0"/>
            </a:endParaRPr>
          </a:p>
          <a:p>
            <a:pPr lvl="1">
              <a:spcAft>
                <a:spcPts val="900"/>
              </a:spcAft>
            </a:pPr>
            <a:r>
              <a:rPr lang="en-US" sz="2100">
                <a:solidFill>
                  <a:srgbClr val="1E3250"/>
                </a:solidFill>
                <a:latin typeface="Roboto" panose="02000000000000000000" pitchFamily="2" charset="0"/>
                <a:ea typeface="Roboto" panose="02000000000000000000" pitchFamily="2" charset="0"/>
                <a:cs typeface="Verdana" panose="020B0604030504040204" pitchFamily="34" charset="0"/>
              </a:rPr>
              <a:t>Pacific Institute / CEO Water Mandate</a:t>
            </a:r>
          </a:p>
          <a:p>
            <a:pPr lvl="1"/>
            <a:r>
              <a:rPr lang="en-US">
                <a:solidFill>
                  <a:srgbClr val="1E3250"/>
                </a:solidFill>
                <a:latin typeface="Roboto" panose="02000000000000000000" pitchFamily="2" charset="0"/>
                <a:ea typeface="Roboto" panose="02000000000000000000" pitchFamily="2" charset="0"/>
                <a:cs typeface="Verdana" panose="020B0604030504040204" pitchFamily="34" charset="0"/>
                <a:hlinkClick r:id="rId2"/>
              </a:rPr>
              <a:t>avramalho@pacinst.org</a:t>
            </a:r>
            <a:r>
              <a:rPr lang="en-US">
                <a:solidFill>
                  <a:srgbClr val="1E3250"/>
                </a:solidFill>
                <a:latin typeface="Roboto" panose="02000000000000000000" pitchFamily="2" charset="0"/>
                <a:ea typeface="Roboto" panose="02000000000000000000" pitchFamily="2" charset="0"/>
                <a:cs typeface="Verdana" panose="020B0604030504040204" pitchFamily="34" charset="0"/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08F486-D358-405F-A284-5A0D816CBAC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7048"/>
          <a:stretch/>
        </p:blipFill>
        <p:spPr>
          <a:xfrm>
            <a:off x="0" y="1632030"/>
            <a:ext cx="9144000" cy="169079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A82E4E3-2720-4E53-8AD9-FBF3ED5DA1F8}"/>
              </a:ext>
            </a:extLst>
          </p:cNvPr>
          <p:cNvSpPr/>
          <p:nvPr/>
        </p:nvSpPr>
        <p:spPr>
          <a:xfrm>
            <a:off x="1" y="0"/>
            <a:ext cx="9143999" cy="1690793"/>
          </a:xfrm>
          <a:prstGeom prst="rect">
            <a:avLst/>
          </a:prstGeom>
          <a:solidFill>
            <a:srgbClr val="1E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lvl="1"/>
            <a:r>
              <a:rPr lang="en-US" sz="3600" b="1">
                <a:latin typeface="Roboto" pitchFamily="2" charset="0"/>
                <a:ea typeface="Roboto" pitchFamily="2" charset="0"/>
                <a:cs typeface="Verdana" panose="020B0604030504040204" pitchFamily="34" charset="0"/>
              </a:rPr>
              <a:t>Thank you!</a:t>
            </a:r>
            <a:endParaRPr lang="en-US" sz="2000">
              <a:solidFill>
                <a:schemeClr val="bg1">
                  <a:lumMod val="9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Verdana" panose="020B0604030504040204" pitchFamily="34" charset="0"/>
            </a:endParaRPr>
          </a:p>
        </p:txBody>
      </p:sp>
      <p:pic>
        <p:nvPicPr>
          <p:cNvPr id="8" name="Picture 7" descr="A close up of a logo&#10;&#10;Description generated with high confidence">
            <a:extLst>
              <a:ext uri="{FF2B5EF4-FFF2-40B4-BE49-F238E27FC236}">
                <a16:creationId xmlns:a16="http://schemas.microsoft.com/office/drawing/2014/main" id="{2F76CD44-CDAC-47DF-89F0-4FFCCC0FB19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159" t="7956" r="10678" b="9925"/>
          <a:stretch/>
        </p:blipFill>
        <p:spPr>
          <a:xfrm>
            <a:off x="7079226" y="3680675"/>
            <a:ext cx="1730479" cy="1104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04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kLzoKrtyaG.1AGhsOf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4084"/>
      </a:accent1>
      <a:accent2>
        <a:srgbClr val="00AEEF"/>
      </a:accent2>
      <a:accent3>
        <a:srgbClr val="0563BB"/>
      </a:accent3>
      <a:accent4>
        <a:srgbClr val="CBCBCB"/>
      </a:accent4>
      <a:accent5>
        <a:srgbClr val="67844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4084"/>
        </a:accent1>
        <a:accent2>
          <a:srgbClr val="00AEEF"/>
        </a:accent2>
        <a:accent3>
          <a:srgbClr val="0563BB"/>
        </a:accent3>
        <a:accent4>
          <a:srgbClr val="CBCBCB"/>
        </a:accent4>
        <a:accent5>
          <a:srgbClr val="67844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1E3250"/>
    </a:custClr>
  </a:custClrLst>
  <a:extLst>
    <a:ext uri="{05A4C25C-085E-4340-85A3-A5531E510DB2}">
      <thm15:themeFamily xmlns:thm15="http://schemas.microsoft.com/office/thememl/2012/main" name="ZYW516_CF" id="{1EC30556-99F5-432A-9AF9-126143F672DB}" vid="{4C4E7D2A-F225-480E-9A38-72228D5805D3}"/>
    </a:ext>
  </a:extLst>
</a:theme>
</file>

<file path=ppt/theme/theme3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E3250"/>
      </a:lt1>
      <a:dk2>
        <a:srgbClr val="000000"/>
      </a:dk2>
      <a:lt2>
        <a:srgbClr val="000000"/>
      </a:lt2>
      <a:accent1>
        <a:srgbClr val="CBCBCB"/>
      </a:accent1>
      <a:accent2>
        <a:srgbClr val="00AEEF"/>
      </a:accent2>
      <a:accent3>
        <a:srgbClr val="0563BB"/>
      </a:accent3>
      <a:accent4>
        <a:srgbClr val="024084"/>
      </a:accent4>
      <a:accent5>
        <a:srgbClr val="67844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E3250"/>
        </a:lt1>
        <a:dk2>
          <a:srgbClr val="000000"/>
        </a:dk2>
        <a:lt2>
          <a:srgbClr val="000000"/>
        </a:lt2>
        <a:accent1>
          <a:srgbClr val="CBCBCB"/>
        </a:accent1>
        <a:accent2>
          <a:srgbClr val="00AEEF"/>
        </a:accent2>
        <a:accent3>
          <a:srgbClr val="0563BB"/>
        </a:accent3>
        <a:accent4>
          <a:srgbClr val="024084"/>
        </a:accent4>
        <a:accent5>
          <a:srgbClr val="67844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ZYW516_CF" id="{1EC30556-99F5-432A-9AF9-126143F672DB}" vid="{C85BDA2B-6BF7-490C-80F6-F2B4FD16699A}"/>
    </a:ext>
  </a:extLst>
</a:theme>
</file>

<file path=ppt/theme/theme4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4084"/>
      </a:accent1>
      <a:accent2>
        <a:srgbClr val="00AEEF"/>
      </a:accent2>
      <a:accent3>
        <a:srgbClr val="0563BB"/>
      </a:accent3>
      <a:accent4>
        <a:srgbClr val="CBCBCB"/>
      </a:accent4>
      <a:accent5>
        <a:srgbClr val="67844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4084"/>
        </a:accent1>
        <a:accent2>
          <a:srgbClr val="00AEEF"/>
        </a:accent2>
        <a:accent3>
          <a:srgbClr val="0563BB"/>
        </a:accent3>
        <a:accent4>
          <a:srgbClr val="CBCBCB"/>
        </a:accent4>
        <a:accent5>
          <a:srgbClr val="67844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1E3250"/>
    </a:custClr>
  </a:custClrLst>
  <a:extLst>
    <a:ext uri="{05A4C25C-085E-4340-85A3-A5531E510DB2}">
      <thm15:themeFamily xmlns:thm15="http://schemas.microsoft.com/office/thememl/2012/main" name="ZYW516_CF" id="{1EC30556-99F5-432A-9AF9-126143F672DB}" vid="{4C4E7D2A-F225-480E-9A38-72228D5805D3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9D3489752B174C86ABCD77FB494FA2" ma:contentTypeVersion="4" ma:contentTypeDescription="Create a new document." ma:contentTypeScope="" ma:versionID="f40ce7721019ccc2ef43c5baa289093b">
  <xsd:schema xmlns:xsd="http://www.w3.org/2001/XMLSchema" xmlns:xs="http://www.w3.org/2001/XMLSchema" xmlns:p="http://schemas.microsoft.com/office/2006/metadata/properties" xmlns:ns2="303a1825-fec3-4f80-9a62-36e41456cf15" targetNamespace="http://schemas.microsoft.com/office/2006/metadata/properties" ma:root="true" ma:fieldsID="456e94ec0f42e0f5b9a1dd2011fa8416" ns2:_="">
    <xsd:import namespace="303a1825-fec3-4f80-9a62-36e41456cf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3a1825-fec3-4f80-9a62-36e41456cf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00BFA6D-AFD4-4B92-9780-F31350FF67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3a1825-fec3-4f80-9a62-36e41456cf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597F477-0B6C-4B3C-BBF7-BB3B23A7848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A685D4-B2BD-4B79-9370-00DAB14AF59F}">
  <ds:schemaRefs>
    <ds:schemaRef ds:uri="10476468-d035-4ea3-87a1-4faf4d754cc2"/>
    <ds:schemaRef ds:uri="f509661b-9655-48c0-83b4-c5f2b7e3459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326</Words>
  <Application>Microsoft Office PowerPoint</Application>
  <PresentationFormat>Apresentação na tela (16:9)</PresentationFormat>
  <Paragraphs>71</Paragraphs>
  <Slides>9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</vt:i4>
      </vt:variant>
    </vt:vector>
  </HeadingPairs>
  <TitlesOfParts>
    <vt:vector size="20" baseType="lpstr">
      <vt:lpstr>Calibri Light</vt:lpstr>
      <vt:lpstr>Wingdings</vt:lpstr>
      <vt:lpstr>Roboto</vt:lpstr>
      <vt:lpstr>Arial</vt:lpstr>
      <vt:lpstr>Calibri</vt:lpstr>
      <vt:lpstr>Segoe UI</vt:lpstr>
      <vt:lpstr>Office Theme</vt:lpstr>
      <vt:lpstr>White</vt:lpstr>
      <vt:lpstr>Contrast</vt:lpstr>
      <vt:lpstr>1_Whit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r Schulte</dc:creator>
  <cp:lastModifiedBy>Andre Ramalho</cp:lastModifiedBy>
  <cp:revision>7</cp:revision>
  <dcterms:created xsi:type="dcterms:W3CDTF">2020-04-08T21:26:17Z</dcterms:created>
  <dcterms:modified xsi:type="dcterms:W3CDTF">2020-11-09T22:4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9D3489752B174C86ABCD77FB494FA2</vt:lpwstr>
  </property>
</Properties>
</file>